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7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8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76" r:id="rId4"/>
    <p:sldMasterId id="2147483680" r:id="rId5"/>
    <p:sldMasterId id="2147483745" r:id="rId6"/>
    <p:sldMasterId id="2147483759" r:id="rId7"/>
  </p:sldMasterIdLst>
  <p:notesMasterIdLst>
    <p:notesMasterId r:id="rId18"/>
  </p:notesMasterIdLst>
  <p:handoutMasterIdLst>
    <p:handoutMasterId r:id="rId19"/>
  </p:handoutMasterIdLst>
  <p:sldIdLst>
    <p:sldId id="3049" r:id="rId8"/>
    <p:sldId id="3058" r:id="rId9"/>
    <p:sldId id="3061" r:id="rId10"/>
    <p:sldId id="3055" r:id="rId11"/>
    <p:sldId id="3040" r:id="rId12"/>
    <p:sldId id="3050" r:id="rId13"/>
    <p:sldId id="3053" r:id="rId14"/>
    <p:sldId id="3056" r:id="rId15"/>
    <p:sldId id="3062" r:id="rId16"/>
    <p:sldId id="3052" r:id="rId17"/>
  </p:sldIdLst>
  <p:sldSz cx="9906000" cy="6858000" type="A4"/>
  <p:notesSz cx="6735763" cy="9866313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013E8A2-C1D9-B760-C12B-DFB0CE5A00D3}" name="アスフィール 興津 拓" initials="拓興" userId="S::okitsu@asfeel.jp::d0ef56df-4c3d-4de7-bf21-ac4875e80b9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mber" initials="m" lastIdx="1" clrIdx="0">
    <p:extLst>
      <p:ext uri="{19B8F6BF-5375-455C-9EA6-DF929625EA0E}">
        <p15:presenceInfo xmlns:p15="http://schemas.microsoft.com/office/powerpoint/2012/main" userId="memb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E4E4"/>
    <a:srgbClr val="52A6E7"/>
    <a:srgbClr val="A0CFF8"/>
    <a:srgbClr val="9CCDF7"/>
    <a:srgbClr val="CEF5FE"/>
    <a:srgbClr val="7EC492"/>
    <a:srgbClr val="0172C2"/>
    <a:srgbClr val="FFFFFF"/>
    <a:srgbClr val="C0DAD9"/>
    <a:srgbClr val="64B0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7B9BE7B-DD90-48AE-8486-30F579434645}" v="292" dt="2025-12-03T01:55:05.844"/>
  </p1510:revLst>
</p1510:revInfo>
</file>

<file path=ppt/tableStyles.xml><?xml version="1.0" encoding="utf-8"?>
<a:tblStyleLst xmlns:a="http://schemas.openxmlformats.org/drawingml/2006/main" def="{E7964FA6-BD6D-4402-9F04-81295A2006D3}">
  <a:tblStyle styleId="{E7964FA6-BD6D-4402-9F04-81295A2006D3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6" d="100"/>
          <a:sy n="96" d="100"/>
        </p:scale>
        <p:origin x="1722" y="96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2" d="100"/>
          <a:sy n="72" d="100"/>
        </p:scale>
        <p:origin x="4104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アスフィール 興津 拓" userId="d0ef56df-4c3d-4de7-bf21-ac4875e80b95" providerId="ADAL" clId="{148BE914-A357-4D0F-9206-55A5A85FAD05}"/>
    <pc:docChg chg="undo redo custSel addSld delSld modSld sldOrd modHandout">
      <pc:chgData name="アスフィール 興津 拓" userId="d0ef56df-4c3d-4de7-bf21-ac4875e80b95" providerId="ADAL" clId="{148BE914-A357-4D0F-9206-55A5A85FAD05}" dt="2025-12-03T01:55:07.729" v="4807" actId="47"/>
      <pc:docMkLst>
        <pc:docMk/>
      </pc:docMkLst>
      <pc:sldChg chg="addSp delSp modSp mod ord">
        <pc:chgData name="アスフィール 興津 拓" userId="d0ef56df-4c3d-4de7-bf21-ac4875e80b95" providerId="ADAL" clId="{148BE914-A357-4D0F-9206-55A5A85FAD05}" dt="2025-12-03T01:53:58.951" v="4771"/>
        <pc:sldMkLst>
          <pc:docMk/>
          <pc:sldMk cId="346424476" sldId="3040"/>
        </pc:sldMkLst>
        <pc:spChg chg="add mod">
          <ac:chgData name="アスフィール 興津 拓" userId="d0ef56df-4c3d-4de7-bf21-ac4875e80b95" providerId="ADAL" clId="{148BE914-A357-4D0F-9206-55A5A85FAD05}" dt="2025-11-27T06:20:52.135" v="4630" actId="12788"/>
          <ac:spMkLst>
            <pc:docMk/>
            <pc:sldMk cId="346424476" sldId="3040"/>
            <ac:spMk id="4" creationId="{F7AF1D60-0D30-6C0E-BC30-2792C583060C}"/>
          </ac:spMkLst>
        </pc:spChg>
      </pc:sldChg>
      <pc:sldChg chg="addSp delSp modSp mod">
        <pc:chgData name="アスフィール 興津 拓" userId="d0ef56df-4c3d-4de7-bf21-ac4875e80b95" providerId="ADAL" clId="{148BE914-A357-4D0F-9206-55A5A85FAD05}" dt="2025-12-03T01:19:06.423" v="4768"/>
        <pc:sldMkLst>
          <pc:docMk/>
          <pc:sldMk cId="1746959325" sldId="3049"/>
        </pc:sldMkLst>
        <pc:spChg chg="mod">
          <ac:chgData name="アスフィール 興津 拓" userId="d0ef56df-4c3d-4de7-bf21-ac4875e80b95" providerId="ADAL" clId="{148BE914-A357-4D0F-9206-55A5A85FAD05}" dt="2025-11-27T06:14:24.686" v="4223" actId="113"/>
          <ac:spMkLst>
            <pc:docMk/>
            <pc:sldMk cId="1746959325" sldId="3049"/>
            <ac:spMk id="4" creationId="{87266334-40C1-24F9-30B3-ECD370C38767}"/>
          </ac:spMkLst>
        </pc:spChg>
        <pc:spChg chg="add mod">
          <ac:chgData name="アスフィール 興津 拓" userId="d0ef56df-4c3d-4de7-bf21-ac4875e80b95" providerId="ADAL" clId="{148BE914-A357-4D0F-9206-55A5A85FAD05}" dt="2025-12-03T01:19:06.423" v="4768"/>
          <ac:spMkLst>
            <pc:docMk/>
            <pc:sldMk cId="1746959325" sldId="3049"/>
            <ac:spMk id="5" creationId="{25421EA7-1913-F844-1395-4A90447E63AC}"/>
          </ac:spMkLst>
        </pc:spChg>
      </pc:sldChg>
      <pc:sldChg chg="addSp delSp modSp mod">
        <pc:chgData name="アスフィール 興津 拓" userId="d0ef56df-4c3d-4de7-bf21-ac4875e80b95" providerId="ADAL" clId="{148BE914-A357-4D0F-9206-55A5A85FAD05}" dt="2025-11-13T04:31:01.703" v="3234" actId="478"/>
        <pc:sldMkLst>
          <pc:docMk/>
          <pc:sldMk cId="603438938" sldId="3050"/>
        </pc:sldMkLst>
      </pc:sldChg>
      <pc:sldChg chg="addSp delSp modSp add del mod">
        <pc:chgData name="アスフィール 興津 拓" userId="d0ef56df-4c3d-4de7-bf21-ac4875e80b95" providerId="ADAL" clId="{148BE914-A357-4D0F-9206-55A5A85FAD05}" dt="2025-12-03T01:55:07.729" v="4807" actId="47"/>
        <pc:sldMkLst>
          <pc:docMk/>
          <pc:sldMk cId="3551375091" sldId="3051"/>
        </pc:sldMkLst>
        <pc:spChg chg="mod">
          <ac:chgData name="アスフィール 興津 拓" userId="d0ef56df-4c3d-4de7-bf21-ac4875e80b95" providerId="ADAL" clId="{148BE914-A357-4D0F-9206-55A5A85FAD05}" dt="2025-11-27T06:17:30.690" v="4607" actId="404"/>
          <ac:spMkLst>
            <pc:docMk/>
            <pc:sldMk cId="3551375091" sldId="3051"/>
            <ac:spMk id="12" creationId="{75D906D9-C237-C7AD-6036-FEAE19FAEA38}"/>
          </ac:spMkLst>
        </pc:spChg>
        <pc:spChg chg="mod">
          <ac:chgData name="アスフィール 興津 拓" userId="d0ef56df-4c3d-4de7-bf21-ac4875e80b95" providerId="ADAL" clId="{148BE914-A357-4D0F-9206-55A5A85FAD05}" dt="2025-11-27T06:17:39.186" v="4608" actId="1076"/>
          <ac:spMkLst>
            <pc:docMk/>
            <pc:sldMk cId="3551375091" sldId="3051"/>
            <ac:spMk id="13" creationId="{85D918F4-3B86-7542-0C5B-1D87E0118A93}"/>
          </ac:spMkLst>
        </pc:spChg>
        <pc:spChg chg="mod">
          <ac:chgData name="アスフィール 興津 拓" userId="d0ef56df-4c3d-4de7-bf21-ac4875e80b95" providerId="ADAL" clId="{148BE914-A357-4D0F-9206-55A5A85FAD05}" dt="2025-11-27T06:17:39.186" v="4608" actId="1076"/>
          <ac:spMkLst>
            <pc:docMk/>
            <pc:sldMk cId="3551375091" sldId="3051"/>
            <ac:spMk id="17" creationId="{7937E559-CCBC-534A-F738-571F31BA2260}"/>
          </ac:spMkLst>
        </pc:spChg>
        <pc:spChg chg="mod">
          <ac:chgData name="アスフィール 興津 拓" userId="d0ef56df-4c3d-4de7-bf21-ac4875e80b95" providerId="ADAL" clId="{148BE914-A357-4D0F-9206-55A5A85FAD05}" dt="2025-11-27T06:17:39.186" v="4608" actId="1076"/>
          <ac:spMkLst>
            <pc:docMk/>
            <pc:sldMk cId="3551375091" sldId="3051"/>
            <ac:spMk id="21" creationId="{B3206F76-8843-53B3-61FB-515B2373E132}"/>
          </ac:spMkLst>
        </pc:spChg>
        <pc:spChg chg="mod">
          <ac:chgData name="アスフィール 興津 拓" userId="d0ef56df-4c3d-4de7-bf21-ac4875e80b95" providerId="ADAL" clId="{148BE914-A357-4D0F-9206-55A5A85FAD05}" dt="2025-11-27T06:17:39.186" v="4608" actId="1076"/>
          <ac:spMkLst>
            <pc:docMk/>
            <pc:sldMk cId="3551375091" sldId="3051"/>
            <ac:spMk id="163" creationId="{62FB01E3-0662-2E8D-AF22-F66190BC460A}"/>
          </ac:spMkLst>
        </pc:spChg>
        <pc:spChg chg="mod">
          <ac:chgData name="アスフィール 興津 拓" userId="d0ef56df-4c3d-4de7-bf21-ac4875e80b95" providerId="ADAL" clId="{148BE914-A357-4D0F-9206-55A5A85FAD05}" dt="2025-11-27T06:17:39.186" v="4608" actId="1076"/>
          <ac:spMkLst>
            <pc:docMk/>
            <pc:sldMk cId="3551375091" sldId="3051"/>
            <ac:spMk id="196" creationId="{16CF439D-3E88-497C-42F2-AD009ACF759E}"/>
          </ac:spMkLst>
        </pc:spChg>
        <pc:picChg chg="mod">
          <ac:chgData name="アスフィール 興津 拓" userId="d0ef56df-4c3d-4de7-bf21-ac4875e80b95" providerId="ADAL" clId="{148BE914-A357-4D0F-9206-55A5A85FAD05}" dt="2025-11-27T06:17:39.186" v="4608" actId="1076"/>
          <ac:picMkLst>
            <pc:docMk/>
            <pc:sldMk cId="3551375091" sldId="3051"/>
            <ac:picMk id="6" creationId="{65E144CF-B108-0F12-BC5E-D61429849ADA}"/>
          </ac:picMkLst>
        </pc:picChg>
        <pc:picChg chg="mod">
          <ac:chgData name="アスフィール 興津 拓" userId="d0ef56df-4c3d-4de7-bf21-ac4875e80b95" providerId="ADAL" clId="{148BE914-A357-4D0F-9206-55A5A85FAD05}" dt="2025-11-27T06:17:39.186" v="4608" actId="1076"/>
          <ac:picMkLst>
            <pc:docMk/>
            <pc:sldMk cId="3551375091" sldId="3051"/>
            <ac:picMk id="11" creationId="{0EBC1D49-4CD4-C8D9-6EC0-3A36C673B2E9}"/>
          </ac:picMkLst>
        </pc:picChg>
        <pc:picChg chg="mod">
          <ac:chgData name="アスフィール 興津 拓" userId="d0ef56df-4c3d-4de7-bf21-ac4875e80b95" providerId="ADAL" clId="{148BE914-A357-4D0F-9206-55A5A85FAD05}" dt="2025-11-27T06:17:39.186" v="4608" actId="1076"/>
          <ac:picMkLst>
            <pc:docMk/>
            <pc:sldMk cId="3551375091" sldId="3051"/>
            <ac:picMk id="16" creationId="{5A915ECB-F395-6941-D9EA-DE389697AAC4}"/>
          </ac:picMkLst>
        </pc:picChg>
      </pc:sldChg>
      <pc:sldChg chg="addSp delSp modSp add del mod">
        <pc:chgData name="アスフィール 興津 拓" userId="d0ef56df-4c3d-4de7-bf21-ac4875e80b95" providerId="ADAL" clId="{148BE914-A357-4D0F-9206-55A5A85FAD05}" dt="2025-11-27T06:17:46.776" v="4609" actId="478"/>
        <pc:sldMkLst>
          <pc:docMk/>
          <pc:sldMk cId="3750831423" sldId="3052"/>
        </pc:sldMkLst>
        <pc:spChg chg="add mod">
          <ac:chgData name="アスフィール 興津 拓" userId="d0ef56df-4c3d-4de7-bf21-ac4875e80b95" providerId="ADAL" clId="{148BE914-A357-4D0F-9206-55A5A85FAD05}" dt="2025-11-14T08:05:58.272" v="3324"/>
          <ac:spMkLst>
            <pc:docMk/>
            <pc:sldMk cId="3750831423" sldId="3052"/>
            <ac:spMk id="4" creationId="{4E535B0A-9870-8C1A-6A43-D1D177A0B84D}"/>
          </ac:spMkLst>
        </pc:spChg>
        <pc:spChg chg="add mod">
          <ac:chgData name="アスフィール 興津 拓" userId="d0ef56df-4c3d-4de7-bf21-ac4875e80b95" providerId="ADAL" clId="{148BE914-A357-4D0F-9206-55A5A85FAD05}" dt="2025-11-06T11:31:03.701" v="2692"/>
          <ac:spMkLst>
            <pc:docMk/>
            <pc:sldMk cId="3750831423" sldId="3052"/>
            <ac:spMk id="10" creationId="{2321D508-18BA-4EF2-E9DC-6856EC099B04}"/>
          </ac:spMkLst>
        </pc:spChg>
        <pc:spChg chg="add mod">
          <ac:chgData name="アスフィール 興津 拓" userId="d0ef56df-4c3d-4de7-bf21-ac4875e80b95" providerId="ADAL" clId="{148BE914-A357-4D0F-9206-55A5A85FAD05}" dt="2025-11-13T04:30:43.749" v="3231"/>
          <ac:spMkLst>
            <pc:docMk/>
            <pc:sldMk cId="3750831423" sldId="3052"/>
            <ac:spMk id="11" creationId="{A388F8EB-D344-DAD5-0F1D-DA1702C81B43}"/>
          </ac:spMkLst>
        </pc:spChg>
        <pc:spChg chg="add mod">
          <ac:chgData name="アスフィール 興津 拓" userId="d0ef56df-4c3d-4de7-bf21-ac4875e80b95" providerId="ADAL" clId="{148BE914-A357-4D0F-9206-55A5A85FAD05}" dt="2025-11-06T11:31:03.701" v="2692"/>
          <ac:spMkLst>
            <pc:docMk/>
            <pc:sldMk cId="3750831423" sldId="3052"/>
            <ac:spMk id="16" creationId="{984DBF2E-F154-9623-02B7-29AF86E1F735}"/>
          </ac:spMkLst>
        </pc:spChg>
        <pc:spChg chg="add mod">
          <ac:chgData name="アスフィール 興津 拓" userId="d0ef56df-4c3d-4de7-bf21-ac4875e80b95" providerId="ADAL" clId="{148BE914-A357-4D0F-9206-55A5A85FAD05}" dt="2025-11-06T11:31:03.701" v="2692"/>
          <ac:spMkLst>
            <pc:docMk/>
            <pc:sldMk cId="3750831423" sldId="3052"/>
            <ac:spMk id="18" creationId="{48FD5C3A-DE74-760C-95CD-028889D9A992}"/>
          </ac:spMkLst>
        </pc:spChg>
        <pc:spChg chg="mod">
          <ac:chgData name="アスフィール 興津 拓" userId="d0ef56df-4c3d-4de7-bf21-ac4875e80b95" providerId="ADAL" clId="{148BE914-A357-4D0F-9206-55A5A85FAD05}" dt="2025-11-04T05:08:03.680" v="842" actId="1076"/>
          <ac:spMkLst>
            <pc:docMk/>
            <pc:sldMk cId="3750831423" sldId="3052"/>
            <ac:spMk id="25" creationId="{367A702B-D161-6842-04E1-6D2C9A1E24BD}"/>
          </ac:spMkLst>
        </pc:spChg>
        <pc:spChg chg="add mod">
          <ac:chgData name="アスフィール 興津 拓" userId="d0ef56df-4c3d-4de7-bf21-ac4875e80b95" providerId="ADAL" clId="{148BE914-A357-4D0F-9206-55A5A85FAD05}" dt="2025-11-11T07:25:09.075" v="3089"/>
          <ac:spMkLst>
            <pc:docMk/>
            <pc:sldMk cId="3750831423" sldId="3052"/>
            <ac:spMk id="40" creationId="{DC2CB17B-2FBD-536E-025D-46A464CA332E}"/>
          </ac:spMkLst>
        </pc:spChg>
        <pc:spChg chg="add mod">
          <ac:chgData name="アスフィール 興津 拓" userId="d0ef56df-4c3d-4de7-bf21-ac4875e80b95" providerId="ADAL" clId="{148BE914-A357-4D0F-9206-55A5A85FAD05}" dt="2025-11-13T04:56:06.223" v="3280"/>
          <ac:spMkLst>
            <pc:docMk/>
            <pc:sldMk cId="3750831423" sldId="3052"/>
            <ac:spMk id="41" creationId="{A422A891-F6D2-EEC7-B5EA-6056042C9156}"/>
          </ac:spMkLst>
        </pc:spChg>
        <pc:spChg chg="add mod">
          <ac:chgData name="アスフィール 興津 拓" userId="d0ef56df-4c3d-4de7-bf21-ac4875e80b95" providerId="ADAL" clId="{148BE914-A357-4D0F-9206-55A5A85FAD05}" dt="2025-11-14T08:06:12.244" v="3334" actId="14100"/>
          <ac:spMkLst>
            <pc:docMk/>
            <pc:sldMk cId="3750831423" sldId="3052"/>
            <ac:spMk id="43" creationId="{74BC5AE5-2621-C339-263D-F45BEE23C521}"/>
          </ac:spMkLst>
        </pc:spChg>
        <pc:spChg chg="add mod">
          <ac:chgData name="アスフィール 興津 拓" userId="d0ef56df-4c3d-4de7-bf21-ac4875e80b95" providerId="ADAL" clId="{148BE914-A357-4D0F-9206-55A5A85FAD05}" dt="2025-11-27T06:10:36.226" v="4154" actId="20577"/>
          <ac:spMkLst>
            <pc:docMk/>
            <pc:sldMk cId="3750831423" sldId="3052"/>
            <ac:spMk id="61" creationId="{FC8ED52A-83D7-8C54-4FC5-21E9A610DA05}"/>
          </ac:spMkLst>
        </pc:spChg>
        <pc:picChg chg="mod">
          <ac:chgData name="アスフィール 興津 拓" userId="d0ef56df-4c3d-4de7-bf21-ac4875e80b95" providerId="ADAL" clId="{148BE914-A357-4D0F-9206-55A5A85FAD05}" dt="2025-11-11T07:25:09.075" v="3089"/>
          <ac:picMkLst>
            <pc:docMk/>
            <pc:sldMk cId="3750831423" sldId="3052"/>
            <ac:picMk id="31" creationId="{A1C2F814-426E-B766-8D68-5E280939BC34}"/>
          </ac:picMkLst>
        </pc:picChg>
        <pc:picChg chg="mod">
          <ac:chgData name="アスフィール 興津 拓" userId="d0ef56df-4c3d-4de7-bf21-ac4875e80b95" providerId="ADAL" clId="{148BE914-A357-4D0F-9206-55A5A85FAD05}" dt="2025-11-11T07:25:09.075" v="3089"/>
          <ac:picMkLst>
            <pc:docMk/>
            <pc:sldMk cId="3750831423" sldId="3052"/>
            <ac:picMk id="36" creationId="{47E2E008-DDB5-4229-5B3C-F7B3D206D007}"/>
          </ac:picMkLst>
        </pc:picChg>
        <pc:picChg chg="add mod">
          <ac:chgData name="アスフィール 興津 拓" userId="d0ef56df-4c3d-4de7-bf21-ac4875e80b95" providerId="ADAL" clId="{148BE914-A357-4D0F-9206-55A5A85FAD05}" dt="2025-11-11T07:25:09.075" v="3089"/>
          <ac:picMkLst>
            <pc:docMk/>
            <pc:sldMk cId="3750831423" sldId="3052"/>
            <ac:picMk id="42" creationId="{FAF5C801-1568-42DC-0F54-CA6A5FA6BBF7}"/>
          </ac:picMkLst>
        </pc:picChg>
        <pc:cxnChg chg="mod">
          <ac:chgData name="アスフィール 興津 拓" userId="d0ef56df-4c3d-4de7-bf21-ac4875e80b95" providerId="ADAL" clId="{148BE914-A357-4D0F-9206-55A5A85FAD05}" dt="2025-11-13T04:30:48.156" v="3232" actId="14100"/>
          <ac:cxnSpMkLst>
            <pc:docMk/>
            <pc:sldMk cId="3750831423" sldId="3052"/>
            <ac:cxnSpMk id="13" creationId="{9222A8E5-25AB-5BBD-F2A9-CF0F39C7B725}"/>
          </ac:cxnSpMkLst>
        </pc:cxnChg>
        <pc:cxnChg chg="mod">
          <ac:chgData name="アスフィール 興津 拓" userId="d0ef56df-4c3d-4de7-bf21-ac4875e80b95" providerId="ADAL" clId="{148BE914-A357-4D0F-9206-55A5A85FAD05}" dt="2025-11-14T08:05:57.917" v="3323" actId="478"/>
          <ac:cxnSpMkLst>
            <pc:docMk/>
            <pc:sldMk cId="3750831423" sldId="3052"/>
            <ac:cxnSpMk id="17" creationId="{CB51F4BB-1066-5DF1-F7B8-7AFF8A7BBFE2}"/>
          </ac:cxnSpMkLst>
        </pc:cxnChg>
        <pc:cxnChg chg="add del mod ord">
          <ac:chgData name="アスフィール 興津 拓" userId="d0ef56df-4c3d-4de7-bf21-ac4875e80b95" providerId="ADAL" clId="{148BE914-A357-4D0F-9206-55A5A85FAD05}" dt="2025-11-06T11:31:08.923" v="2693" actId="166"/>
          <ac:cxnSpMkLst>
            <pc:docMk/>
            <pc:sldMk cId="3750831423" sldId="3052"/>
            <ac:cxnSpMk id="129" creationId="{AA24F91D-09DC-87A1-718B-E881DA8D98FC}"/>
          </ac:cxnSpMkLst>
        </pc:cxnChg>
      </pc:sldChg>
      <pc:sldChg chg="addSp delSp modSp add mod">
        <pc:chgData name="アスフィール 興津 拓" userId="d0ef56df-4c3d-4de7-bf21-ac4875e80b95" providerId="ADAL" clId="{148BE914-A357-4D0F-9206-55A5A85FAD05}" dt="2025-11-14T07:06:44.593" v="3302" actId="20577"/>
        <pc:sldMkLst>
          <pc:docMk/>
          <pc:sldMk cId="2702740212" sldId="3053"/>
        </pc:sldMkLst>
        <pc:spChg chg="add mod">
          <ac:chgData name="アスフィール 興津 拓" userId="d0ef56df-4c3d-4de7-bf21-ac4875e80b95" providerId="ADAL" clId="{148BE914-A357-4D0F-9206-55A5A85FAD05}" dt="2025-11-04T06:39:50.842" v="2534" actId="1076"/>
          <ac:spMkLst>
            <pc:docMk/>
            <pc:sldMk cId="2702740212" sldId="3053"/>
            <ac:spMk id="6" creationId="{198C03D0-144D-407A-D4D9-F4234B0C9358}"/>
          </ac:spMkLst>
        </pc:spChg>
        <pc:spChg chg="add mod">
          <ac:chgData name="アスフィール 興津 拓" userId="d0ef56df-4c3d-4de7-bf21-ac4875e80b95" providerId="ADAL" clId="{148BE914-A357-4D0F-9206-55A5A85FAD05}" dt="2025-11-13T04:28:55.664" v="3202" actId="14100"/>
          <ac:spMkLst>
            <pc:docMk/>
            <pc:sldMk cId="2702740212" sldId="3053"/>
            <ac:spMk id="8" creationId="{F528CFE5-5524-45FE-B5D0-1DF18C12A2A6}"/>
          </ac:spMkLst>
        </pc:spChg>
        <pc:spChg chg="mod">
          <ac:chgData name="アスフィール 興津 拓" userId="d0ef56df-4c3d-4de7-bf21-ac4875e80b95" providerId="ADAL" clId="{148BE914-A357-4D0F-9206-55A5A85FAD05}" dt="2025-11-04T06:39:07.958" v="2512"/>
          <ac:spMkLst>
            <pc:docMk/>
            <pc:sldMk cId="2702740212" sldId="3053"/>
            <ac:spMk id="12" creationId="{DC72D421-7684-CB9E-3E1A-A5E51684989B}"/>
          </ac:spMkLst>
        </pc:spChg>
        <pc:spChg chg="add mod">
          <ac:chgData name="アスフィール 興津 拓" userId="d0ef56df-4c3d-4de7-bf21-ac4875e80b95" providerId="ADAL" clId="{148BE914-A357-4D0F-9206-55A5A85FAD05}" dt="2025-11-11T07:24:46.787" v="3087" actId="1076"/>
          <ac:spMkLst>
            <pc:docMk/>
            <pc:sldMk cId="2702740212" sldId="3053"/>
            <ac:spMk id="14" creationId="{4CC94CFE-DCFA-CCCA-2B0C-106BFE5AE510}"/>
          </ac:spMkLst>
        </pc:spChg>
        <pc:spChg chg="add mod ord">
          <ac:chgData name="アスフィール 興津 拓" userId="d0ef56df-4c3d-4de7-bf21-ac4875e80b95" providerId="ADAL" clId="{148BE914-A357-4D0F-9206-55A5A85FAD05}" dt="2025-11-13T03:52:44.349" v="3154" actId="14100"/>
          <ac:spMkLst>
            <pc:docMk/>
            <pc:sldMk cId="2702740212" sldId="3053"/>
            <ac:spMk id="21" creationId="{3015FA5B-05D7-D118-FADA-A285EE91CB4B}"/>
          </ac:spMkLst>
        </pc:spChg>
        <pc:spChg chg="add mod">
          <ac:chgData name="アスフィール 興津 拓" userId="d0ef56df-4c3d-4de7-bf21-ac4875e80b95" providerId="ADAL" clId="{148BE914-A357-4D0F-9206-55A5A85FAD05}" dt="2025-11-13T04:30:22.772" v="3228" actId="20577"/>
          <ac:spMkLst>
            <pc:docMk/>
            <pc:sldMk cId="2702740212" sldId="3053"/>
            <ac:spMk id="23" creationId="{AB0F4F4A-D311-D1AA-5B70-DD810A011F03}"/>
          </ac:spMkLst>
        </pc:spChg>
        <pc:spChg chg="add mod">
          <ac:chgData name="アスフィール 興津 拓" userId="d0ef56df-4c3d-4de7-bf21-ac4875e80b95" providerId="ADAL" clId="{148BE914-A357-4D0F-9206-55A5A85FAD05}" dt="2025-11-13T04:55:54.116" v="3279" actId="20577"/>
          <ac:spMkLst>
            <pc:docMk/>
            <pc:sldMk cId="2702740212" sldId="3053"/>
            <ac:spMk id="29" creationId="{CA1B0700-DCB9-60A4-8EFD-DE350AAEB1F1}"/>
          </ac:spMkLst>
        </pc:spChg>
        <pc:spChg chg="mod">
          <ac:chgData name="アスフィール 興津 拓" userId="d0ef56df-4c3d-4de7-bf21-ac4875e80b95" providerId="ADAL" clId="{148BE914-A357-4D0F-9206-55A5A85FAD05}" dt="2025-11-14T07:06:44.593" v="3302" actId="20577"/>
          <ac:spMkLst>
            <pc:docMk/>
            <pc:sldMk cId="2702740212" sldId="3053"/>
            <ac:spMk id="61" creationId="{C1737960-0CA0-B54E-F383-D427418B36A4}"/>
          </ac:spMkLst>
        </pc:spChg>
        <pc:grpChg chg="add mod">
          <ac:chgData name="アスフィール 興津 拓" userId="d0ef56df-4c3d-4de7-bf21-ac4875e80b95" providerId="ADAL" clId="{148BE914-A357-4D0F-9206-55A5A85FAD05}" dt="2025-11-11T07:24:46.787" v="3087" actId="1076"/>
          <ac:grpSpMkLst>
            <pc:docMk/>
            <pc:sldMk cId="2702740212" sldId="3053"/>
            <ac:grpSpMk id="10" creationId="{BDAED568-C0C9-281A-20E7-993E0F23D421}"/>
          </ac:grpSpMkLst>
        </pc:grpChg>
        <pc:picChg chg="add mod">
          <ac:chgData name="アスフィール 興津 拓" userId="d0ef56df-4c3d-4de7-bf21-ac4875e80b95" providerId="ADAL" clId="{148BE914-A357-4D0F-9206-55A5A85FAD05}" dt="2025-11-04T06:39:49.362" v="2532" actId="1076"/>
          <ac:picMkLst>
            <pc:docMk/>
            <pc:sldMk cId="2702740212" sldId="3053"/>
            <ac:picMk id="7" creationId="{234E37AD-0336-9C41-3A6B-AC84A46A383C}"/>
          </ac:picMkLst>
        </pc:picChg>
        <pc:picChg chg="mod">
          <ac:chgData name="アスフィール 興津 拓" userId="d0ef56df-4c3d-4de7-bf21-ac4875e80b95" providerId="ADAL" clId="{148BE914-A357-4D0F-9206-55A5A85FAD05}" dt="2025-11-04T08:56:34.381" v="2622"/>
          <ac:picMkLst>
            <pc:docMk/>
            <pc:sldMk cId="2702740212" sldId="3053"/>
            <ac:picMk id="11" creationId="{850A8766-8277-0570-00D7-6D40AFF22891}"/>
          </ac:picMkLst>
        </pc:picChg>
        <pc:picChg chg="mod">
          <ac:chgData name="アスフィール 興津 拓" userId="d0ef56df-4c3d-4de7-bf21-ac4875e80b95" providerId="ADAL" clId="{148BE914-A357-4D0F-9206-55A5A85FAD05}" dt="2025-11-04T08:56:34.381" v="2622"/>
          <ac:picMkLst>
            <pc:docMk/>
            <pc:sldMk cId="2702740212" sldId="3053"/>
            <ac:picMk id="13" creationId="{71E21911-63BA-1409-B574-EFC1154F61AD}"/>
          </ac:picMkLst>
        </pc:picChg>
        <pc:picChg chg="add mod">
          <ac:chgData name="アスフィール 興津 拓" userId="d0ef56df-4c3d-4de7-bf21-ac4875e80b95" providerId="ADAL" clId="{148BE914-A357-4D0F-9206-55A5A85FAD05}" dt="2025-11-11T07:24:46.787" v="3087" actId="1076"/>
          <ac:picMkLst>
            <pc:docMk/>
            <pc:sldMk cId="2702740212" sldId="3053"/>
            <ac:picMk id="34" creationId="{1C9CFFD7-9538-3960-28E7-25B7349E4F35}"/>
          </ac:picMkLst>
        </pc:picChg>
        <pc:cxnChg chg="mod">
          <ac:chgData name="アスフィール 興津 拓" userId="d0ef56df-4c3d-4de7-bf21-ac4875e80b95" providerId="ADAL" clId="{148BE914-A357-4D0F-9206-55A5A85FAD05}" dt="2025-11-13T04:29:59.259" v="3206" actId="478"/>
          <ac:cxnSpMkLst>
            <pc:docMk/>
            <pc:sldMk cId="2702740212" sldId="3053"/>
            <ac:cxnSpMk id="9" creationId="{623A182A-49B6-291D-EB10-DBF9E7ADCE11}"/>
          </ac:cxnSpMkLst>
        </pc:cxnChg>
        <pc:cxnChg chg="add mod">
          <ac:chgData name="アスフィール 興津 拓" userId="d0ef56df-4c3d-4de7-bf21-ac4875e80b95" providerId="ADAL" clId="{148BE914-A357-4D0F-9206-55A5A85FAD05}" dt="2025-11-11T07:22:34.551" v="2736" actId="1076"/>
          <ac:cxnSpMkLst>
            <pc:docMk/>
            <pc:sldMk cId="2702740212" sldId="3053"/>
            <ac:cxnSpMk id="24" creationId="{ED679448-D2D5-78A8-B30A-5215F26B0180}"/>
          </ac:cxnSpMkLst>
        </pc:cxnChg>
        <pc:cxnChg chg="mod">
          <ac:chgData name="アスフィール 興津 拓" userId="d0ef56df-4c3d-4de7-bf21-ac4875e80b95" providerId="ADAL" clId="{148BE914-A357-4D0F-9206-55A5A85FAD05}" dt="2025-11-13T04:28:55.664" v="3202" actId="14100"/>
          <ac:cxnSpMkLst>
            <pc:docMk/>
            <pc:sldMk cId="2702740212" sldId="3053"/>
            <ac:cxnSpMk id="44" creationId="{1DE3A73E-22B9-B33F-7A4B-C118AB2F1539}"/>
          </ac:cxnSpMkLst>
        </pc:cxnChg>
      </pc:sldChg>
      <pc:sldChg chg="add">
        <pc:chgData name="アスフィール 興津 拓" userId="d0ef56df-4c3d-4de7-bf21-ac4875e80b95" providerId="ADAL" clId="{148BE914-A357-4D0F-9206-55A5A85FAD05}" dt="2025-11-27T06:15:09.737" v="4224"/>
        <pc:sldMkLst>
          <pc:docMk/>
          <pc:sldMk cId="842601119" sldId="3055"/>
        </pc:sldMkLst>
      </pc:sldChg>
      <pc:sldChg chg="addSp modSp add mod ord">
        <pc:chgData name="アスフィール 興津 拓" userId="d0ef56df-4c3d-4de7-bf21-ac4875e80b95" providerId="ADAL" clId="{148BE914-A357-4D0F-9206-55A5A85FAD05}" dt="2025-12-03T01:11:26.518" v="4739" actId="12789"/>
        <pc:sldMkLst>
          <pc:docMk/>
          <pc:sldMk cId="570768317" sldId="3056"/>
        </pc:sldMkLst>
        <pc:spChg chg="mod">
          <ac:chgData name="アスフィール 興津 拓" userId="d0ef56df-4c3d-4de7-bf21-ac4875e80b95" providerId="ADAL" clId="{148BE914-A357-4D0F-9206-55A5A85FAD05}" dt="2025-12-03T01:11:26.518" v="4739" actId="12789"/>
          <ac:spMkLst>
            <pc:docMk/>
            <pc:sldMk cId="570768317" sldId="3056"/>
            <ac:spMk id="4" creationId="{4978E13B-4573-B6FF-5EA0-6B5180E15206}"/>
          </ac:spMkLst>
        </pc:spChg>
        <pc:spChg chg="add mod">
          <ac:chgData name="アスフィール 興津 拓" userId="d0ef56df-4c3d-4de7-bf21-ac4875e80b95" providerId="ADAL" clId="{148BE914-A357-4D0F-9206-55A5A85FAD05}" dt="2025-11-27T06:27:59.128" v="4654" actId="20577"/>
          <ac:spMkLst>
            <pc:docMk/>
            <pc:sldMk cId="570768317" sldId="3056"/>
            <ac:spMk id="5" creationId="{8045D5AD-8C48-6794-83DD-2584FBEBB265}"/>
          </ac:spMkLst>
        </pc:spChg>
      </pc:sldChg>
      <pc:sldChg chg="modSp add del mod ord">
        <pc:chgData name="アスフィール 興津 拓" userId="d0ef56df-4c3d-4de7-bf21-ac4875e80b95" providerId="ADAL" clId="{148BE914-A357-4D0F-9206-55A5A85FAD05}" dt="2025-12-03T01:54:35.226" v="4805" actId="20577"/>
        <pc:sldMkLst>
          <pc:docMk/>
          <pc:sldMk cId="1921388198" sldId="3058"/>
        </pc:sldMkLst>
        <pc:spChg chg="mod">
          <ac:chgData name="アスフィール 興津 拓" userId="d0ef56df-4c3d-4de7-bf21-ac4875e80b95" providerId="ADAL" clId="{148BE914-A357-4D0F-9206-55A5A85FAD05}" dt="2025-12-03T01:54:17.694" v="4796" actId="20577"/>
          <ac:spMkLst>
            <pc:docMk/>
            <pc:sldMk cId="1921388198" sldId="3058"/>
            <ac:spMk id="24" creationId="{DC15F734-AA0F-639E-43D0-015AD054B092}"/>
          </ac:spMkLst>
        </pc:spChg>
        <pc:spChg chg="mod">
          <ac:chgData name="アスフィール 興津 拓" userId="d0ef56df-4c3d-4de7-bf21-ac4875e80b95" providerId="ADAL" clId="{148BE914-A357-4D0F-9206-55A5A85FAD05}" dt="2025-12-03T01:54:26.519" v="4799" actId="20577"/>
          <ac:spMkLst>
            <pc:docMk/>
            <pc:sldMk cId="1921388198" sldId="3058"/>
            <ac:spMk id="37" creationId="{721DA9E8-F52A-6039-0D88-7446C508FF92}"/>
          </ac:spMkLst>
        </pc:spChg>
        <pc:spChg chg="mod">
          <ac:chgData name="アスフィール 興津 拓" userId="d0ef56df-4c3d-4de7-bf21-ac4875e80b95" providerId="ADAL" clId="{148BE914-A357-4D0F-9206-55A5A85FAD05}" dt="2025-12-03T01:54:35.226" v="4805" actId="20577"/>
          <ac:spMkLst>
            <pc:docMk/>
            <pc:sldMk cId="1921388198" sldId="3058"/>
            <ac:spMk id="38" creationId="{233CED4A-CD7A-DEC2-2F15-2F4569D3CA40}"/>
          </ac:spMkLst>
        </pc:spChg>
      </pc:sldChg>
      <pc:sldChg chg="add del">
        <pc:chgData name="アスフィール 興津 拓" userId="d0ef56df-4c3d-4de7-bf21-ac4875e80b95" providerId="ADAL" clId="{148BE914-A357-4D0F-9206-55A5A85FAD05}" dt="2025-12-03T01:18:40.693" v="4748" actId="47"/>
        <pc:sldMkLst>
          <pc:docMk/>
          <pc:sldMk cId="2181925748" sldId="3059"/>
        </pc:sldMkLst>
      </pc:sldChg>
      <pc:sldChg chg="modSp add del mod ord">
        <pc:chgData name="アスフィール 興津 拓" userId="d0ef56df-4c3d-4de7-bf21-ac4875e80b95" providerId="ADAL" clId="{148BE914-A357-4D0F-9206-55A5A85FAD05}" dt="2025-12-03T01:54:19.641" v="4797" actId="47"/>
        <pc:sldMkLst>
          <pc:docMk/>
          <pc:sldMk cId="3884764162" sldId="3060"/>
        </pc:sldMkLst>
        <pc:spChg chg="mod">
          <ac:chgData name="アスフィール 興津 拓" userId="d0ef56df-4c3d-4de7-bf21-ac4875e80b95" providerId="ADAL" clId="{148BE914-A357-4D0F-9206-55A5A85FAD05}" dt="2025-12-03T01:18:48.417" v="4767" actId="20577"/>
          <ac:spMkLst>
            <pc:docMk/>
            <pc:sldMk cId="3884764162" sldId="3060"/>
            <ac:spMk id="24" creationId="{DC15F734-AA0F-639E-43D0-015AD054B092}"/>
          </ac:spMkLst>
        </pc:spChg>
      </pc:sldChg>
      <pc:sldChg chg="add">
        <pc:chgData name="アスフィール 興津 拓" userId="d0ef56df-4c3d-4de7-bf21-ac4875e80b95" providerId="ADAL" clId="{148BE914-A357-4D0F-9206-55A5A85FAD05}" dt="2025-12-03T01:53:52.658" v="4769"/>
        <pc:sldMkLst>
          <pc:docMk/>
          <pc:sldMk cId="1111615756" sldId="3061"/>
        </pc:sldMkLst>
      </pc:sldChg>
      <pc:sldChg chg="add">
        <pc:chgData name="アスフィール 興津 拓" userId="d0ef56df-4c3d-4de7-bf21-ac4875e80b95" providerId="ADAL" clId="{148BE914-A357-4D0F-9206-55A5A85FAD05}" dt="2025-12-03T01:55:05.842" v="4806"/>
        <pc:sldMkLst>
          <pc:docMk/>
          <pc:sldMk cId="2727880114" sldId="306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EE04E106-3521-DDCE-6A93-0B134DC37E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64CE2080-A5A2-7560-4666-7F52DE97CC2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09330FB9-10A9-BFAE-86CF-0493DF40680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F71C61-DD55-434F-A9C7-70810638397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045764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73577" y="4686500"/>
            <a:ext cx="5388610" cy="44398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697" tIns="90697" rIns="90697" bIns="90697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84053868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DF6997-E9FA-B75A-8A53-69E63BD498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7CBB1A3-6E2D-AB04-84C0-3CA4FC1DCC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5504D03-BBC8-8BBB-9F6C-A3CA48CC7B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99BC80-C870-1991-C2C8-C7909F6FDA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2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482222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357EBA-0827-D67C-34D8-ECD931C6F5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328F85-2851-7BC6-6E15-9C0CB356F0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3258316-12E7-A952-D00D-0CAAA5AFFF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90BF12-52CD-8663-6751-49CA0B141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3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530233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99AC4C-FA09-C6D9-F2EA-6DC54E06B9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987681-BFAD-152E-209D-2292163C1C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177885-102C-0F47-2071-F67DFB5D8E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C1909C-3B83-EE11-DDF0-9453E79835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4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68511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357EBA-0827-D67C-34D8-ECD931C6F5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328F85-2851-7BC6-6E15-9C0CB356F0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3258316-12E7-A952-D00D-0CAAA5AFFF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90BF12-52CD-8663-6751-49CA0B141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5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53023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46570C-DD16-82D5-B881-EA425B0A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492CD1F-C82B-06A0-AFBB-3B8D2DC5EA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14F94E-D4CB-0663-C119-4C692C4C83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F9BAB5-2E86-1F4C-AA5B-0FC9E135B0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6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629664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8C7561-9E75-474E-733E-14F5A4652C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AA4A18-B681-5897-BD03-19663A5659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B86D41-8D02-BA8B-B333-4E104959CF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334DF7-E51D-5007-5F4B-CCA7B88323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7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35179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860F2F-0A47-F54F-6132-04BA7C9076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F47F4A-82F4-B04E-C6F2-3973F50AA0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A2B9F1-02D8-F98C-D0E8-625405AED5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CCB612-FB7B-55E6-DA40-03F731C9EF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8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284832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DCE8F1-D857-08A9-44A1-A51A9C317C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691246D-B99F-D9C3-7B49-0BD8A12708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6A1990-8F68-3B9C-4147-E0CAFD3B9B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4273D4-0991-6425-7A3A-70D3236841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9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97102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6A949E-40C2-7E5A-3249-0BAAD1C7BD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1F404B-4619-DECD-4FD6-CF297E5890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028028-F75C-E936-BD21-E2D23C83EA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6F7F90-F1AB-3ADD-A15C-CCFBACE7C35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10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80770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0B4AD4-D276-42F6-830E-EE3504A6B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7174222"/>
              </p:ext>
            </p:extLst>
          </p:nvPr>
        </p:nvGraphicFramePr>
        <p:xfrm>
          <a:off x="1291" y="1589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0B4AD4-D276-42F6-830E-EE3504A6B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BEB060D7-0F22-4CFF-A6AC-6DE0E8830D1C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79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783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11877" y="622803"/>
            <a:ext cx="8883347" cy="249299"/>
          </a:xfrm>
        </p:spPr>
        <p:txBody>
          <a:bodyPr vert="horz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7989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57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0B4AD4-D276-42F6-830E-EE3504A6B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4636073"/>
              </p:ext>
            </p:extLst>
          </p:nvPr>
        </p:nvGraphicFramePr>
        <p:xfrm>
          <a:off x="1291" y="1589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0B4AD4-D276-42F6-830E-EE3504A6B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3688A78-ABF4-4EDD-9BD5-01D4F8DB3588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79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783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11877" y="622803"/>
            <a:ext cx="8883347" cy="249299"/>
          </a:xfrm>
        </p:spPr>
        <p:txBody>
          <a:bodyPr vert="horz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8296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57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581" y="6400800"/>
            <a:ext cx="9903421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3" y="6334316"/>
            <a:ext cx="9903421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1540" y="758952"/>
            <a:ext cx="817245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3791" y="4455621"/>
            <a:ext cx="817245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329E3773-992E-4139-B19C-610A129E14C4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981223" y="4343400"/>
            <a:ext cx="80238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7811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1E11AD6F-546A-4CC7-A594-B7CBE80808E7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580102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セクション見出し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581" y="6400800"/>
            <a:ext cx="9903421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3" y="6334316"/>
            <a:ext cx="9903421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1540" y="758952"/>
            <a:ext cx="817245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1540" y="4453128"/>
            <a:ext cx="817245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C8009FDC-E7F0-435E-AF8A-B982C33441BB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981223" y="4343400"/>
            <a:ext cx="80238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4528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91540" y="286605"/>
            <a:ext cx="8172450" cy="1450757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91540" y="1845736"/>
            <a:ext cx="4011930" cy="4023359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52060" y="1845735"/>
            <a:ext cx="4011930" cy="4023360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B2914C15-DE0B-4855-B6D1-C0F459C0677E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851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91540" y="286605"/>
            <a:ext cx="8172450" cy="1450757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1540" y="1846052"/>
            <a:ext cx="401193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91540" y="2582335"/>
            <a:ext cx="4011930" cy="3286760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52060" y="1846052"/>
            <a:ext cx="401193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52060" y="2582334"/>
            <a:ext cx="4011930" cy="3286760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4D5D8CEE-A3DC-4744-B841-B87A1C1E49E9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683619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5DC85403-755A-44EC-81D0-E2BD84757777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930436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581" y="6400800"/>
            <a:ext cx="9903421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ja-JP" altLang="en-US"/>
          </a:p>
        </p:txBody>
      </p:sp>
      <p:sp>
        <p:nvSpPr>
          <p:cNvPr id="6" name="Rectangle 5"/>
          <p:cNvSpPr/>
          <p:nvPr/>
        </p:nvSpPr>
        <p:spPr>
          <a:xfrm>
            <a:off x="13" y="6334316"/>
            <a:ext cx="9903421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ja-JP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01B3F3-67B2-409A-A7FF-885668C2F714}" type="datetime1">
              <a:rPr kumimoji="1" lang="ja-JP" altLang="en-US" smtClean="0"/>
              <a:t>2025/12/3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/>
              <a:pPr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7344776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5" y="0"/>
            <a:ext cx="329126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282557" y="0"/>
            <a:ext cx="5200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594359"/>
            <a:ext cx="2600325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00488" y="731520"/>
            <a:ext cx="5274945" cy="5257800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71475" y="2926080"/>
            <a:ext cx="2600325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78229" y="6459787"/>
            <a:ext cx="2127540" cy="365125"/>
          </a:xfrm>
        </p:spPr>
        <p:txBody>
          <a:bodyPr/>
          <a:lstStyle>
            <a:lvl1pPr algn="l">
              <a:defRPr/>
            </a:lvl1pPr>
          </a:lstStyle>
          <a:p>
            <a:pPr defTabSz="685783"/>
            <a:fld id="{997AEEF0-76F1-4694-B45E-52DF1D57E1AA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900487" y="6459787"/>
            <a:ext cx="3776663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258197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903421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3" y="4915076"/>
            <a:ext cx="9903421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1540" y="5074920"/>
            <a:ext cx="8221980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4" y="0"/>
            <a:ext cx="9905988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1540" y="5907024"/>
            <a:ext cx="822198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9D57537C-D436-463B-B21B-507CCF8236F4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7644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fld id="{8291B82C-4704-412E-83D9-532776CD6B06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49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CF8D316C-6050-4762-A7FA-70DC640D52B0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14088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581" y="6400800"/>
            <a:ext cx="9903421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3" y="6334316"/>
            <a:ext cx="9903421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412302"/>
            <a:ext cx="2135981" cy="575989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412302"/>
            <a:ext cx="6284119" cy="5759898"/>
          </a:xfrm>
        </p:spPr>
        <p:txBody>
          <a:bodyPr vert="eaVert" lIns="45720" tIns="0" rIns="45720" bIns="0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067066C9-7439-4DBE-8195-3279911A6B39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591499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125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0B4AD4-D276-42F6-830E-EE3504A6B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884978"/>
              </p:ext>
            </p:extLst>
          </p:nvPr>
        </p:nvGraphicFramePr>
        <p:xfrm>
          <a:off x="1291" y="1589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0B4AD4-D276-42F6-830E-EE3504A6B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799" y="3931570"/>
            <a:ext cx="5133975" cy="7880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42909">
              <a:lnSpc>
                <a:spcPct val="90000"/>
              </a:lnSpc>
              <a:spcAft>
                <a:spcPts val="487"/>
              </a:spcAft>
            </a:pPr>
            <a:r>
              <a:rPr lang="en-US" sz="569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11877" y="622803"/>
            <a:ext cx="8883347" cy="270074"/>
          </a:xfrm>
        </p:spPr>
        <p:txBody>
          <a:bodyPr vert="horz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12316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566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039ECE3-5911-426B-8047-01B73958A6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2834778"/>
            <a:ext cx="7429500" cy="675185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2F2DD7DF-2E99-48D0-AB11-3DECDFD325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7"/>
            <a:ext cx="7429500" cy="1655763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64" indent="0" algn="ctr">
              <a:buNone/>
              <a:defRPr sz="1625"/>
            </a:lvl2pPr>
            <a:lvl3pPr marL="742927" indent="0" algn="ctr">
              <a:buNone/>
              <a:defRPr sz="1462"/>
            </a:lvl3pPr>
            <a:lvl4pPr marL="1114391" indent="0" algn="ctr">
              <a:buNone/>
              <a:defRPr sz="1300"/>
            </a:lvl4pPr>
            <a:lvl5pPr marL="1485854" indent="0" algn="ctr">
              <a:buNone/>
              <a:defRPr sz="1300"/>
            </a:lvl5pPr>
            <a:lvl6pPr marL="1857318" indent="0" algn="ctr">
              <a:buNone/>
              <a:defRPr sz="1300"/>
            </a:lvl6pPr>
            <a:lvl7pPr marL="2228781" indent="0" algn="ctr">
              <a:buNone/>
              <a:defRPr sz="1300"/>
            </a:lvl7pPr>
            <a:lvl8pPr marL="2600245" indent="0" algn="ctr">
              <a:buNone/>
              <a:defRPr sz="1300"/>
            </a:lvl8pPr>
            <a:lvl9pPr marL="2971709" indent="0" algn="ctr">
              <a:buNone/>
              <a:defRPr sz="13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67298004-CB65-4857-99AE-4DD3AB25E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557797E9-958E-4C49-942F-73332B2DD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E41B4566-E206-451D-BC80-E57A65E72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74D8B3-CC12-4B97-A41B-1CBFA27B603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182963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37675" y="593367"/>
            <a:ext cx="923065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37675" y="1536633"/>
            <a:ext cx="923065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95285" lvl="0" indent="-371464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90570" lvl="1" indent="-343948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485854" lvl="2" indent="-343948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981139" lvl="3" indent="-343948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476424" lvl="4" indent="-343948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971709" lvl="5" indent="-343948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466993" lvl="6" indent="-343948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962278" lvl="7" indent="-343948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457563" lvl="8" indent="-343948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9178496" y="6217623"/>
            <a:ext cx="594425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-US" altLang="ja" smtClean="0"/>
              <a:pPr algn="r"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15157870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60E760-9964-485E-A12E-12E18087204C}" type="datetime1">
              <a:rPr kumimoji="1" lang="ja-JP" altLang="en-US" smtClean="0"/>
              <a:t>2025/12/3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995026" y="6459787"/>
            <a:ext cx="39185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044123" y="6459787"/>
            <a:ext cx="1066021" cy="365125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-US" altLang="ja" smtClean="0"/>
              <a:pPr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18597278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0B4AD4-D276-42F6-830E-EE3504A6B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884978"/>
              </p:ext>
            </p:extLst>
          </p:nvPr>
        </p:nvGraphicFramePr>
        <p:xfrm>
          <a:off x="1291" y="1589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0B4AD4-D276-42F6-830E-EE3504A6B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F3339E71-0942-496B-9895-B521F7CD85E4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79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783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11877" y="622803"/>
            <a:ext cx="8883347" cy="332399"/>
          </a:xfrm>
        </p:spPr>
        <p:txBody>
          <a:bodyPr vert="horz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8305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57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0B4AD4-D276-42F6-830E-EE3504A6B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884978"/>
              </p:ext>
            </p:extLst>
          </p:nvPr>
        </p:nvGraphicFramePr>
        <p:xfrm>
          <a:off x="1291" y="1589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0B4AD4-D276-42F6-830E-EE3504A6B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7CF84302-CAFD-427E-AA44-C5C48ED3DCB6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79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783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11877" y="622803"/>
            <a:ext cx="8883347" cy="249299"/>
          </a:xfrm>
        </p:spPr>
        <p:txBody>
          <a:bodyPr vert="horz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46638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57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fld id="{F466931E-8152-4D30-B1AC-230A6CDAFDCF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17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039ECE3-5911-426B-8047-01B73958A6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2886715"/>
            <a:ext cx="7429500" cy="623248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2F2DD7DF-2E99-48D0-AB11-3DECDFD325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7"/>
            <a:ext cx="74295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67298004-CB65-4857-99AE-4DD3AB25E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47F74-151A-46E6-A4A9-CFC2066DEE11}" type="datetime1">
              <a:rPr kumimoji="1" lang="ja-JP" altLang="en-US" smtClean="0"/>
              <a:t>2025/12/3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557797E9-958E-4C49-942F-73332B2DD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E41B4566-E206-451D-BC80-E57A65E72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74D8B3-CC12-4B97-A41B-1CBFA27B603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610731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37675" y="593367"/>
            <a:ext cx="923065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37675" y="1536633"/>
            <a:ext cx="923065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9178496" y="6217623"/>
            <a:ext cx="594425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-US" altLang="ja" smtClean="0"/>
              <a:pPr algn="r"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12117055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F494F8-76DF-4A40-BE0F-9AAEC4C9EFEF}" type="datetime1">
              <a:rPr kumimoji="1" lang="ja-JP" altLang="en-US" smtClean="0"/>
              <a:t>2025/12/3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995026" y="6459787"/>
            <a:ext cx="39185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044123" y="6459787"/>
            <a:ext cx="1066021" cy="365125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-US" altLang="ja" smtClean="0"/>
              <a:pPr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2502675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9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11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12824586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28985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18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83"/>
            <a:fld id="{D867CC1B-FD56-4067-B2C5-4583FE8BC400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11877" y="622803"/>
            <a:ext cx="8883347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11877" y="1825625"/>
            <a:ext cx="8883347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8982472" y="6405037"/>
            <a:ext cx="412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411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702" r:id="rId3"/>
    <p:sldLayoutId id="2147483700" r:id="rId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kumimoji="1" sz="18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Trebuchet MS" panose="020B0603020202020204" pitchFamily="34" charset="0"/>
        </a:defRPr>
      </a:lvl1pPr>
    </p:titleStyle>
    <p:bodyStyle>
      <a:lvl1pPr marL="0" indent="0" algn="l" defTabSz="685783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kumimoji="1" lang="en-US" sz="12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1pPr>
      <a:lvl2pPr marL="213295" indent="-129597" algn="l" defTabSz="685783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kumimoji="1" lang="en-US" sz="12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2pPr>
      <a:lvl3pPr marL="383390" indent="-124197" algn="l" defTabSz="685783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kumimoji="1" lang="en-US" sz="12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3pPr>
      <a:lvl4pPr marL="0" indent="0" algn="l" defTabSz="685783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kumimoji="1" lang="en-US" sz="12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4pPr>
      <a:lvl5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kumimoji="1" lang="en-US" sz="1200" b="1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5pPr>
      <a:lvl6pPr marL="202401" indent="-114297" algn="l" defTabSz="685783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kumimoji="1" lang="en-US" sz="12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6pPr>
      <a:lvl7pPr marL="0" indent="0" algn="l" defTabSz="685783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kumimoji="1" lang="en-US" sz="1200" kern="1200" baseline="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7pPr>
      <a:lvl8pPr marL="0" indent="0" algn="l" defTabSz="685783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kumimoji="1" lang="en-US" sz="1200" kern="1200" baseline="0" smtClean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8pPr>
      <a:lvl9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kumimoji="1" lang="en-US" sz="1200" kern="1200" baseline="0" dirty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48" userDrawn="1">
          <p15:clr>
            <a:srgbClr val="F26B43"/>
          </p15:clr>
        </p15:guide>
        <p15:guide id="2" pos="429" userDrawn="1">
          <p15:clr>
            <a:srgbClr val="F26B43"/>
          </p15:clr>
        </p15:guide>
        <p15:guide id="3" pos="7891" userDrawn="1">
          <p15:clr>
            <a:srgbClr val="F26B43"/>
          </p15:clr>
        </p15:guide>
        <p15:guide id="4" orient="horz" pos="517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40924290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9"/>
            </p:custDataLst>
          </p:nvPr>
        </p:nvSpPr>
        <p:spPr>
          <a:xfrm>
            <a:off x="1" y="1"/>
            <a:ext cx="128985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18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83"/>
            <a:fld id="{53AF7482-D823-4205-A27D-3D07141B56F8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11877" y="622803"/>
            <a:ext cx="8883347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11877" y="1825625"/>
            <a:ext cx="8883347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8982472" y="6405037"/>
            <a:ext cx="412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8969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5" r:id="rId4"/>
    <p:sldLayoutId id="2147483703" r:id="rId5"/>
    <p:sldLayoutId id="214748371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kumimoji="1" sz="18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Trebuchet MS" panose="020B0603020202020204" pitchFamily="34" charset="0"/>
        </a:defRPr>
      </a:lvl1pPr>
    </p:titleStyle>
    <p:bodyStyle>
      <a:lvl1pPr marL="0" indent="0" algn="l" defTabSz="685783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kumimoji="1" lang="en-US" sz="12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1pPr>
      <a:lvl2pPr marL="213295" indent="-129597" algn="l" defTabSz="685783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kumimoji="1" lang="en-US" sz="12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2pPr>
      <a:lvl3pPr marL="383390" indent="-124197" algn="l" defTabSz="685783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kumimoji="1" lang="en-US" sz="12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3pPr>
      <a:lvl4pPr marL="0" indent="0" algn="l" defTabSz="685783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kumimoji="1" lang="en-US" sz="12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4pPr>
      <a:lvl5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kumimoji="1" lang="en-US" sz="1200" b="1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5pPr>
      <a:lvl6pPr marL="202401" indent="-114297" algn="l" defTabSz="685783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kumimoji="1" lang="en-US" sz="12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6pPr>
      <a:lvl7pPr marL="0" indent="0" algn="l" defTabSz="685783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kumimoji="1" lang="en-US" sz="1200" kern="1200" baseline="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7pPr>
      <a:lvl8pPr marL="0" indent="0" algn="l" defTabSz="685783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kumimoji="1" lang="en-US" sz="1200" kern="1200" baseline="0" smtClean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8pPr>
      <a:lvl9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kumimoji="1" lang="en-US" sz="1200" kern="1200" baseline="0" dirty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48" userDrawn="1">
          <p15:clr>
            <a:srgbClr val="F26B43"/>
          </p15:clr>
        </p15:guide>
        <p15:guide id="2" pos="429" userDrawn="1">
          <p15:clr>
            <a:srgbClr val="F26B43"/>
          </p15:clr>
        </p15:guide>
        <p15:guide id="3" pos="7891" userDrawn="1">
          <p15:clr>
            <a:srgbClr val="F26B43"/>
          </p15:clr>
        </p15:guide>
        <p15:guide id="4" orient="horz" pos="517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9906001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ja-JP" altLang="en-US"/>
          </a:p>
        </p:txBody>
      </p:sp>
      <p:sp>
        <p:nvSpPr>
          <p:cNvPr id="9" name="Rectangle 8"/>
          <p:cNvSpPr/>
          <p:nvPr/>
        </p:nvSpPr>
        <p:spPr>
          <a:xfrm>
            <a:off x="1" y="6334316"/>
            <a:ext cx="9906001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ja-JP" alt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91540" y="286605"/>
            <a:ext cx="817245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1539" y="1845734"/>
            <a:ext cx="8172451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91542" y="6459787"/>
            <a:ext cx="20087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pPr defTabSz="685783"/>
            <a:fld id="{AC0DA79E-30D0-4848-8F11-A78677F0A0FD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95026" y="6459787"/>
            <a:ext cx="39185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44123" y="6459787"/>
            <a:ext cx="10660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969745" y="1737845"/>
            <a:ext cx="8098155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12824586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11" name="Objec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 hidden="1"/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28985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18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TextBox 5"/>
          <p:cNvSpPr txBox="1"/>
          <p:nvPr userDrawn="1"/>
        </p:nvSpPr>
        <p:spPr>
          <a:xfrm>
            <a:off x="8982472" y="6405037"/>
            <a:ext cx="412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1042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8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kumimoji="1"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kumimoji="1"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kumimoji="1"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kumimoji="1"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kumimoji="1"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kumimoji="1"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kumimoji="1"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kumimoji="1"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kumimoji="1"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kumimoji="1"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48" userDrawn="1">
          <p15:clr>
            <a:srgbClr val="F26B43"/>
          </p15:clr>
        </p15:guide>
        <p15:guide id="2" pos="429" userDrawn="1">
          <p15:clr>
            <a:srgbClr val="F26B43"/>
          </p15:clr>
        </p15:guide>
        <p15:guide id="3" pos="7891" userDrawn="1">
          <p15:clr>
            <a:srgbClr val="F26B43"/>
          </p15:clr>
        </p15:guide>
        <p15:guide id="4" orient="horz" pos="5175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40924290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28985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195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33954"/>
            <a:ext cx="1204166" cy="12497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1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742909"/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11877" y="622803"/>
            <a:ext cx="8883347" cy="2700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11877" y="1825625"/>
            <a:ext cx="8883347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8982472" y="6392277"/>
            <a:ext cx="412750" cy="16664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83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83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6914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742909" rtl="0" eaLnBrk="1" latinLnBrk="0" hangingPunct="1">
        <a:lnSpc>
          <a:spcPct val="90000"/>
        </a:lnSpc>
        <a:spcBef>
          <a:spcPct val="0"/>
        </a:spcBef>
        <a:buNone/>
        <a:defRPr kumimoji="1" sz="195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Trebuchet MS" panose="020B0603020202020204" pitchFamily="34" charset="0"/>
        </a:defRPr>
      </a:lvl1pPr>
    </p:titleStyle>
    <p:bodyStyle>
      <a:lvl1pPr marL="0" indent="0" algn="l" defTabSz="742909" rtl="0" eaLnBrk="1" latinLnBrk="0" hangingPunct="1">
        <a:lnSpc>
          <a:spcPct val="110000"/>
        </a:lnSpc>
        <a:spcBef>
          <a:spcPts val="487"/>
        </a:spcBef>
        <a:spcAft>
          <a:spcPts val="244"/>
        </a:spcAft>
        <a:buFont typeface="Arial" panose="020B0604020202020204" pitchFamily="34" charset="0"/>
        <a:buChar char="​"/>
        <a:defRPr kumimoji="1" lang="en-US" sz="13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1pPr>
      <a:lvl2pPr marL="231062" indent="-140392" algn="l" defTabSz="742909" rtl="0" eaLnBrk="1" latinLnBrk="0" hangingPunct="1">
        <a:lnSpc>
          <a:spcPct val="90000"/>
        </a:lnSpc>
        <a:spcBef>
          <a:spcPts val="0"/>
        </a:spcBef>
        <a:spcAft>
          <a:spcPts val="244"/>
        </a:spcAft>
        <a:buClr>
          <a:schemeClr val="tx2"/>
        </a:buClr>
        <a:buFont typeface="Arial" panose="020B0604020202020204" pitchFamily="34" charset="0"/>
        <a:buChar char="•"/>
        <a:defRPr kumimoji="1" lang="en-US" sz="13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2pPr>
      <a:lvl3pPr marL="415326" indent="-134543" algn="l" defTabSz="742909" rtl="0" eaLnBrk="1" latinLnBrk="0" hangingPunct="1">
        <a:lnSpc>
          <a:spcPct val="90000"/>
        </a:lnSpc>
        <a:spcBef>
          <a:spcPts val="0"/>
        </a:spcBef>
        <a:spcAft>
          <a:spcPts val="244"/>
        </a:spcAft>
        <a:buClr>
          <a:schemeClr val="tx2"/>
        </a:buClr>
        <a:buFont typeface="Trebuchet MS" panose="020B0603020202020204" pitchFamily="34" charset="0"/>
        <a:buChar char="–"/>
        <a:defRPr kumimoji="1" lang="en-US" sz="13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3pPr>
      <a:lvl4pPr marL="0" indent="0" algn="l" defTabSz="742909" rtl="0" eaLnBrk="1" latinLnBrk="0" hangingPunct="1">
        <a:lnSpc>
          <a:spcPct val="110000"/>
        </a:lnSpc>
        <a:spcBef>
          <a:spcPts val="244"/>
        </a:spcBef>
        <a:spcAft>
          <a:spcPts val="244"/>
        </a:spcAft>
        <a:buClr>
          <a:schemeClr val="tx2"/>
        </a:buClr>
        <a:buFont typeface="Arial" panose="020B0604020202020204" pitchFamily="34" charset="0"/>
        <a:buChar char="​"/>
        <a:defRPr kumimoji="1" lang="en-US" sz="13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4pPr>
      <a:lvl5pPr marL="0" indent="0" algn="l" defTabSz="742909" rtl="0" eaLnBrk="1" latinLnBrk="0" hangingPunct="1">
        <a:lnSpc>
          <a:spcPct val="100000"/>
        </a:lnSpc>
        <a:spcBef>
          <a:spcPts val="0"/>
        </a:spcBef>
        <a:spcAft>
          <a:spcPts val="244"/>
        </a:spcAft>
        <a:buClrTx/>
        <a:buFont typeface="Arial" panose="020B0604020202020204" pitchFamily="34" charset="0"/>
        <a:buChar char="​"/>
        <a:defRPr kumimoji="1" lang="en-US" sz="1300" b="1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5pPr>
      <a:lvl6pPr marL="219261" indent="-123818" algn="l" defTabSz="742909" rtl="0" eaLnBrk="1" latinLnBrk="0" hangingPunct="1">
        <a:lnSpc>
          <a:spcPct val="90000"/>
        </a:lnSpc>
        <a:spcBef>
          <a:spcPts val="0"/>
        </a:spcBef>
        <a:spcAft>
          <a:spcPts val="487"/>
        </a:spcAft>
        <a:buClr>
          <a:schemeClr val="tx2"/>
        </a:buClr>
        <a:buFont typeface="Arial" panose="020B0604020202020204" pitchFamily="34" charset="0"/>
        <a:buChar char="•"/>
        <a:defRPr kumimoji="1" lang="en-US" sz="13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6pPr>
      <a:lvl7pPr marL="0" indent="0" algn="l" defTabSz="742909" rtl="0" eaLnBrk="1" latinLnBrk="0" hangingPunct="1">
        <a:lnSpc>
          <a:spcPct val="90000"/>
        </a:lnSpc>
        <a:spcBef>
          <a:spcPts val="731"/>
        </a:spcBef>
        <a:spcAft>
          <a:spcPts val="731"/>
        </a:spcAft>
        <a:buFont typeface="Arial" panose="020B0604020202020204" pitchFamily="34" charset="0"/>
        <a:buChar char="​"/>
        <a:defRPr kumimoji="1" lang="en-US" sz="1300" kern="1200" baseline="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7pPr>
      <a:lvl8pPr marL="0" indent="0" algn="l" defTabSz="742909" rtl="0" eaLnBrk="1" latinLnBrk="0" hangingPunct="1">
        <a:lnSpc>
          <a:spcPct val="90000"/>
        </a:lnSpc>
        <a:spcBef>
          <a:spcPts val="731"/>
        </a:spcBef>
        <a:spcAft>
          <a:spcPts val="0"/>
        </a:spcAft>
        <a:buFont typeface="Arial" panose="020B0604020202020204" pitchFamily="34" charset="0"/>
        <a:buChar char="​"/>
        <a:defRPr kumimoji="1" lang="en-US" sz="1300" kern="1200" baseline="0" smtClean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8pPr>
      <a:lvl9pPr marL="0" indent="0" algn="l" defTabSz="742909" rtl="0" eaLnBrk="1" latinLnBrk="0" hangingPunct="1">
        <a:lnSpc>
          <a:spcPct val="100000"/>
        </a:lnSpc>
        <a:spcBef>
          <a:spcPts val="0"/>
        </a:spcBef>
        <a:spcAft>
          <a:spcPts val="731"/>
        </a:spcAft>
        <a:buFont typeface="Arial" panose="020B0604020202020204" pitchFamily="34" charset="0"/>
        <a:buChar char="​"/>
        <a:defRPr kumimoji="1" lang="en-US" sz="1300" kern="1200" baseline="0" dirty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55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09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64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17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271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25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180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635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3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8.png"/><Relationship Id="rId5" Type="http://schemas.openxmlformats.org/officeDocument/2006/relationships/image" Target="../media/image5.png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17.xml"/><Relationship Id="rId7" Type="http://schemas.openxmlformats.org/officeDocument/2006/relationships/oleObject" Target="../embeddings/oleObject3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5.png"/><Relationship Id="rId5" Type="http://schemas.openxmlformats.org/officeDocument/2006/relationships/image" Target="../media/image9.png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.png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4E2E1566-09E4-D0F7-42E3-139B85CC15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/>
              <a:pPr/>
              <a:t>1</a:t>
            </a:fld>
            <a:endParaRPr lang="ja" altLang="en-US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170D33DE-1495-952E-9FB0-0BFBBE8E0DDF}"/>
              </a:ext>
            </a:extLst>
          </p:cNvPr>
          <p:cNvSpPr txBox="1"/>
          <p:nvPr/>
        </p:nvSpPr>
        <p:spPr>
          <a:xfrm>
            <a:off x="2983524" y="6493385"/>
            <a:ext cx="3587842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ＭＳ Ｐゴシック (太字)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ＭＳ Ｐゴシック (太字)"/>
              </a:rPr>
              <a:t>ASFEEL</a:t>
            </a:r>
            <a:r>
              <a:rPr lang="en-US" altLang="ja-JP" sz="1200">
                <a:solidFill>
                  <a:schemeClr val="bg1"/>
                </a:solidFill>
                <a:effectLst/>
                <a:latin typeface="ＭＳ Ｐゴシック (太字)"/>
              </a:rPr>
              <a:t>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ＭＳ Ｐゴシック (太字)"/>
              </a:rPr>
              <a:t> All Rights Reserved.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87266334-40C1-24F9-30B3-ECD370C38767}"/>
              </a:ext>
            </a:extLst>
          </p:cNvPr>
          <p:cNvSpPr txBox="1"/>
          <p:nvPr/>
        </p:nvSpPr>
        <p:spPr>
          <a:xfrm>
            <a:off x="744157" y="1699592"/>
            <a:ext cx="8417689" cy="40318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4000" b="1" dirty="0"/>
              <a:t>関東高等学校体育連盟ホームページ</a:t>
            </a:r>
            <a:endParaRPr kumimoji="1" lang="en-US" altLang="ja-JP" sz="4000" b="1" dirty="0"/>
          </a:p>
          <a:p>
            <a:pPr algn="ctr"/>
            <a:r>
              <a:rPr kumimoji="1" lang="ja-JP" altLang="en-US" sz="4000" dirty="0"/>
              <a:t>大会参加申込書提出マニュアル</a:t>
            </a:r>
            <a:endParaRPr kumimoji="1" lang="en-US" altLang="ja-JP" sz="4000" dirty="0"/>
          </a:p>
          <a:p>
            <a:pPr algn="ctr"/>
            <a:endParaRPr kumimoji="1" lang="en-US" altLang="ja-JP" sz="4000" dirty="0"/>
          </a:p>
          <a:p>
            <a:pPr algn="ctr"/>
            <a:r>
              <a:rPr kumimoji="1" lang="ja-JP" altLang="en-US" sz="4000" dirty="0"/>
              <a:t>参加校 用</a:t>
            </a:r>
            <a:endParaRPr kumimoji="1" lang="en-US" altLang="ja-JP" sz="4000" dirty="0"/>
          </a:p>
          <a:p>
            <a:pPr algn="ctr"/>
            <a:r>
              <a:rPr kumimoji="1" lang="ja-JP" altLang="en-US" sz="2800" dirty="0"/>
              <a:t>～各都県専門部へ提出の場合～</a:t>
            </a:r>
            <a:endParaRPr kumimoji="1" lang="en-US" altLang="ja-JP" sz="2800" dirty="0"/>
          </a:p>
          <a:p>
            <a:pPr algn="ctr"/>
            <a:endParaRPr kumimoji="1" lang="en-US" altLang="ja-JP" sz="4000" dirty="0"/>
          </a:p>
          <a:p>
            <a:pPr algn="ctr"/>
            <a:r>
              <a:rPr kumimoji="1" lang="ja-JP" altLang="en-US" sz="2800" dirty="0"/>
              <a:t>アスフィール株式会社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25421EA7-1913-F844-1395-4A90447E63AC}"/>
              </a:ext>
            </a:extLst>
          </p:cNvPr>
          <p:cNvSpPr txBox="1"/>
          <p:nvPr/>
        </p:nvSpPr>
        <p:spPr>
          <a:xfrm>
            <a:off x="1833356" y="930609"/>
            <a:ext cx="6239288" cy="34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ja-JP" altLang="en-US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最終更新日：令和</a:t>
            </a:r>
            <a:r>
              <a:rPr lang="en-US" altLang="ja-JP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7</a:t>
            </a:r>
            <a:r>
              <a:rPr lang="ja-JP" altLang="en-US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年</a:t>
            </a:r>
            <a:r>
              <a:rPr lang="en-US" altLang="ja-JP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12</a:t>
            </a:r>
            <a:r>
              <a:rPr lang="ja-JP" altLang="en-US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月</a:t>
            </a:r>
            <a:r>
              <a:rPr lang="en-US" altLang="ja-JP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3</a:t>
            </a:r>
            <a:r>
              <a:rPr lang="ja-JP" altLang="en-US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日</a:t>
            </a:r>
          </a:p>
        </p:txBody>
      </p:sp>
    </p:spTree>
    <p:extLst>
      <p:ext uri="{BB962C8B-B14F-4D97-AF65-F5344CB8AC3E}">
        <p14:creationId xmlns:p14="http://schemas.microsoft.com/office/powerpoint/2010/main" val="17469593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8C352C-2F02-C3E0-985E-CA126B0FF4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F7D56F-15E8-E9CE-7215-B5E8532B7C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CF7D56F-15E8-E9CE-7215-B5E8532B7C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29D2E3E9-309C-A12F-A736-0F2012B259D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8CB2601E-7030-2AA9-0644-B434E7BC48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10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204B3B0A-67E3-2DF6-4BFE-A2669A54DFE4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53961ED8-B5A1-FC12-F14C-A517B1C275DF}"/>
              </a:ext>
            </a:extLst>
          </p:cNvPr>
          <p:cNvSpPr txBox="1"/>
          <p:nvPr/>
        </p:nvSpPr>
        <p:spPr>
          <a:xfrm>
            <a:off x="145883" y="183987"/>
            <a:ext cx="6244159" cy="461665"/>
          </a:xfrm>
          <a:prstGeom prst="rect">
            <a:avLst/>
          </a:prstGeom>
          <a:noFill/>
        </p:spPr>
        <p:txBody>
          <a:bodyPr wrap="square" rIns="360000">
            <a:spAutoFit/>
          </a:bodyPr>
          <a:lstStyle/>
          <a:p>
            <a:r>
              <a:rPr kumimoji="1" lang="ja-JP" altLang="en-US" sz="2400" b="1">
                <a:solidFill>
                  <a:srgbClr val="0166B3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詳細手順</a:t>
            </a:r>
            <a:endParaRPr lang="en-US" altLang="ja-JP" sz="2400" b="1">
              <a:solidFill>
                <a:srgbClr val="0166B3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0B9FABFD-06B4-5B9F-75B8-A0B2AE117C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367A702B-D161-6842-04E1-6D2C9A1E24BD}"/>
              </a:ext>
            </a:extLst>
          </p:cNvPr>
          <p:cNvSpPr txBox="1"/>
          <p:nvPr/>
        </p:nvSpPr>
        <p:spPr>
          <a:xfrm>
            <a:off x="204114" y="1134039"/>
            <a:ext cx="430590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４．「ファイル提出フォームへ」から申込書を提出</a:t>
            </a:r>
          </a:p>
        </p:txBody>
      </p:sp>
      <p:sp>
        <p:nvSpPr>
          <p:cNvPr id="61" name="四角形: 角を丸くする 60">
            <a:extLst>
              <a:ext uri="{FF2B5EF4-FFF2-40B4-BE49-F238E27FC236}">
                <a16:creationId xmlns:a16="http://schemas.microsoft.com/office/drawing/2014/main" id="{FC8ED52A-83D7-8C54-4FC5-21E9A610DA05}"/>
              </a:ext>
            </a:extLst>
          </p:cNvPr>
          <p:cNvSpPr/>
          <p:nvPr/>
        </p:nvSpPr>
        <p:spPr>
          <a:xfrm>
            <a:off x="254485" y="1411291"/>
            <a:ext cx="9488469" cy="741228"/>
          </a:xfrm>
          <a:prstGeom prst="roundRect">
            <a:avLst>
              <a:gd name="adj" fmla="val 18634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400" b="1" dirty="0">
                <a:solidFill>
                  <a:schemeClr val="bg1"/>
                </a:solidFill>
                <a:highlight>
                  <a:srgbClr val="FF0000"/>
                </a:highlight>
              </a:rPr>
              <a:t>ルール①</a:t>
            </a:r>
            <a:r>
              <a:rPr kumimoji="1" lang="ja-JP" altLang="en-US" sz="1400" b="1" dirty="0">
                <a:solidFill>
                  <a:schemeClr val="bg1"/>
                </a:solidFill>
              </a:rPr>
              <a:t> </a:t>
            </a:r>
            <a:r>
              <a:rPr kumimoji="1" lang="ja-JP" altLang="en-US" sz="1400" b="1" dirty="0">
                <a:solidFill>
                  <a:schemeClr val="tx1"/>
                </a:solidFill>
              </a:rPr>
              <a:t>提出するファイルが複数ある場合、都度提出して下さい。</a:t>
            </a:r>
            <a:endParaRPr kumimoji="1" lang="en-US" altLang="ja-JP" sz="1400" b="1" dirty="0">
              <a:solidFill>
                <a:schemeClr val="tx1"/>
              </a:solidFill>
            </a:endParaRPr>
          </a:p>
          <a:p>
            <a:r>
              <a:rPr kumimoji="1" lang="ja-JP" altLang="en-US" sz="800" b="1" dirty="0">
                <a:solidFill>
                  <a:srgbClr val="FF0000"/>
                </a:solidFill>
              </a:rPr>
              <a:t>　</a:t>
            </a:r>
            <a:endParaRPr kumimoji="1" lang="en-US" altLang="ja-JP" sz="1400" b="1" dirty="0">
              <a:solidFill>
                <a:srgbClr val="FF0000"/>
              </a:solidFill>
            </a:endParaRPr>
          </a:p>
          <a:p>
            <a:pPr algn="ctr"/>
            <a:r>
              <a:rPr kumimoji="1" lang="en-US" altLang="ja-JP" sz="1000" b="1" dirty="0">
                <a:solidFill>
                  <a:schemeClr val="tx1"/>
                </a:solidFill>
              </a:rPr>
              <a:t>【</a:t>
            </a:r>
            <a:r>
              <a:rPr kumimoji="1" lang="ja-JP" altLang="en-US" sz="1000" b="1" dirty="0">
                <a:solidFill>
                  <a:schemeClr val="tx1"/>
                </a:solidFill>
              </a:rPr>
              <a:t>例</a:t>
            </a:r>
            <a:r>
              <a:rPr kumimoji="1" lang="en-US" altLang="ja-JP" sz="1000" b="1" dirty="0">
                <a:solidFill>
                  <a:schemeClr val="tx1"/>
                </a:solidFill>
              </a:rPr>
              <a:t>】</a:t>
            </a:r>
            <a:r>
              <a:rPr kumimoji="1" lang="ja-JP" altLang="en-US" sz="1000" b="1" dirty="0">
                <a:solidFill>
                  <a:schemeClr val="tx1"/>
                </a:solidFill>
              </a:rPr>
              <a:t>提出する書類が</a:t>
            </a:r>
            <a:r>
              <a:rPr kumimoji="1" lang="en-US" altLang="ja-JP" sz="1000" b="1" u="sng" dirty="0">
                <a:solidFill>
                  <a:schemeClr val="tx1"/>
                </a:solidFill>
              </a:rPr>
              <a:t>3</a:t>
            </a:r>
            <a:r>
              <a:rPr kumimoji="1" lang="ja-JP" altLang="en-US" sz="1000" b="1" u="sng" dirty="0">
                <a:solidFill>
                  <a:schemeClr val="tx1"/>
                </a:solidFill>
              </a:rPr>
              <a:t>種類</a:t>
            </a:r>
            <a:r>
              <a:rPr kumimoji="1" lang="ja-JP" altLang="en-US" sz="1000" b="1" dirty="0">
                <a:solidFill>
                  <a:schemeClr val="tx1"/>
                </a:solidFill>
              </a:rPr>
              <a:t>ある場合：こちらのフォームより</a:t>
            </a:r>
            <a:r>
              <a:rPr kumimoji="1" lang="en-US" altLang="ja-JP" sz="1000" b="1" u="sng" dirty="0">
                <a:solidFill>
                  <a:schemeClr val="tx1"/>
                </a:solidFill>
              </a:rPr>
              <a:t>1</a:t>
            </a:r>
            <a:r>
              <a:rPr kumimoji="1" lang="ja-JP" altLang="en-US" sz="1000" b="1" u="sng" dirty="0">
                <a:solidFill>
                  <a:schemeClr val="tx1"/>
                </a:solidFill>
              </a:rPr>
              <a:t>ファイルずつ、</a:t>
            </a:r>
            <a:r>
              <a:rPr kumimoji="1" lang="en-US" altLang="ja-JP" sz="1000" b="1" u="sng" dirty="0">
                <a:solidFill>
                  <a:schemeClr val="tx1"/>
                </a:solidFill>
              </a:rPr>
              <a:t>3</a:t>
            </a:r>
            <a:r>
              <a:rPr kumimoji="1" lang="ja-JP" altLang="en-US" sz="1000" b="1" u="sng" dirty="0">
                <a:solidFill>
                  <a:schemeClr val="tx1"/>
                </a:solidFill>
              </a:rPr>
              <a:t>回提出</a:t>
            </a:r>
            <a:r>
              <a:rPr kumimoji="1" lang="ja-JP" altLang="en-US" sz="1000" b="1" dirty="0">
                <a:solidFill>
                  <a:schemeClr val="tx1"/>
                </a:solidFill>
              </a:rPr>
              <a:t>をして下さい。</a:t>
            </a:r>
            <a:endParaRPr kumimoji="1" lang="en-US" altLang="ja-JP" sz="1000" b="1" dirty="0">
              <a:solidFill>
                <a:schemeClr val="tx1"/>
              </a:solidFill>
            </a:endParaRPr>
          </a:p>
          <a:p>
            <a:pPr algn="ctr"/>
            <a:endParaRPr kumimoji="1" lang="en-US" altLang="ja-JP" sz="600" b="1" dirty="0">
              <a:solidFill>
                <a:srgbClr val="FF0000"/>
              </a:solidFill>
            </a:endParaRP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F59F6DA7-E136-A6C8-FD67-0BB2148792A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53430" y="2253180"/>
            <a:ext cx="4489524" cy="401259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2321D508-18BA-4EF2-E9DC-6856EC099B04}"/>
              </a:ext>
            </a:extLst>
          </p:cNvPr>
          <p:cNvSpPr/>
          <p:nvPr/>
        </p:nvSpPr>
        <p:spPr>
          <a:xfrm>
            <a:off x="5253430" y="4005337"/>
            <a:ext cx="3534108" cy="29290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9222A8E5-25AB-5BBD-F2A9-CF0F39C7B725}"/>
              </a:ext>
            </a:extLst>
          </p:cNvPr>
          <p:cNvCxnSpPr>
            <a:cxnSpLocks/>
            <a:stCxn id="11" idx="3"/>
            <a:endCxn id="10" idx="1"/>
          </p:cNvCxnSpPr>
          <p:nvPr/>
        </p:nvCxnSpPr>
        <p:spPr>
          <a:xfrm>
            <a:off x="5032002" y="2944766"/>
            <a:ext cx="221428" cy="120702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984DBF2E-F154-9623-02B7-29AF86E1F735}"/>
              </a:ext>
            </a:extLst>
          </p:cNvPr>
          <p:cNvSpPr/>
          <p:nvPr/>
        </p:nvSpPr>
        <p:spPr>
          <a:xfrm>
            <a:off x="5253430" y="4447020"/>
            <a:ext cx="3534108" cy="29290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7" name="直線コネクタ 16">
            <a:extLst>
              <a:ext uri="{FF2B5EF4-FFF2-40B4-BE49-F238E27FC236}">
                <a16:creationId xmlns:a16="http://schemas.microsoft.com/office/drawing/2014/main" id="{CB51F4BB-1066-5DF1-F7B8-7AFF8A7BBFE2}"/>
              </a:ext>
            </a:extLst>
          </p:cNvPr>
          <p:cNvCxnSpPr>
            <a:cxnSpLocks/>
            <a:endCxn id="16" idx="1"/>
          </p:cNvCxnSpPr>
          <p:nvPr/>
        </p:nvCxnSpPr>
        <p:spPr>
          <a:xfrm>
            <a:off x="5036820" y="4363554"/>
            <a:ext cx="216610" cy="22992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48FD5C3A-DE74-760C-95CD-028889D9A992}"/>
              </a:ext>
            </a:extLst>
          </p:cNvPr>
          <p:cNvSpPr/>
          <p:nvPr/>
        </p:nvSpPr>
        <p:spPr>
          <a:xfrm>
            <a:off x="6581774" y="3076575"/>
            <a:ext cx="1400175" cy="56197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29" name="直線コネクタ 128">
            <a:extLst>
              <a:ext uri="{FF2B5EF4-FFF2-40B4-BE49-F238E27FC236}">
                <a16:creationId xmlns:a16="http://schemas.microsoft.com/office/drawing/2014/main" id="{AA24F91D-09DC-87A1-718B-E881DA8D98FC}"/>
              </a:ext>
            </a:extLst>
          </p:cNvPr>
          <p:cNvCxnSpPr>
            <a:cxnSpLocks/>
            <a:stCxn id="61" idx="2"/>
          </p:cNvCxnSpPr>
          <p:nvPr/>
        </p:nvCxnSpPr>
        <p:spPr>
          <a:xfrm>
            <a:off x="4998720" y="2152519"/>
            <a:ext cx="2283142" cy="9240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7B637DEA-A3A4-4761-A939-9937A468B961}"/>
              </a:ext>
            </a:extLst>
          </p:cNvPr>
          <p:cNvGrpSpPr/>
          <p:nvPr/>
        </p:nvGrpSpPr>
        <p:grpSpPr>
          <a:xfrm>
            <a:off x="310736" y="5733961"/>
            <a:ext cx="4492731" cy="393877"/>
            <a:chOff x="6281971" y="3606242"/>
            <a:chExt cx="2414354" cy="211666"/>
          </a:xfrm>
        </p:grpSpPr>
        <p:pic>
          <p:nvPicPr>
            <p:cNvPr id="31" name="図 30">
              <a:extLst>
                <a:ext uri="{FF2B5EF4-FFF2-40B4-BE49-F238E27FC236}">
                  <a16:creationId xmlns:a16="http://schemas.microsoft.com/office/drawing/2014/main" id="{A1C2F814-426E-B766-8D68-5E280939BC3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t="55565" r="94542" b="39159"/>
            <a:stretch>
              <a:fillRect/>
            </a:stretch>
          </p:blipFill>
          <p:spPr>
            <a:xfrm>
              <a:off x="6281971" y="3606242"/>
              <a:ext cx="245035" cy="21166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6" name="図 35">
              <a:extLst>
                <a:ext uri="{FF2B5EF4-FFF2-40B4-BE49-F238E27FC236}">
                  <a16:creationId xmlns:a16="http://schemas.microsoft.com/office/drawing/2014/main" id="{47E2E008-DDB5-4229-5B3C-F7B3D206D00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l="21069" t="55565" r="30611" b="39159"/>
            <a:stretch>
              <a:fillRect/>
            </a:stretch>
          </p:blipFill>
          <p:spPr>
            <a:xfrm>
              <a:off x="6527006" y="3606242"/>
              <a:ext cx="2169319" cy="21166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DC2CB17B-2FBD-536E-025D-46A464CA332E}"/>
              </a:ext>
            </a:extLst>
          </p:cNvPr>
          <p:cNvSpPr txBox="1"/>
          <p:nvPr/>
        </p:nvSpPr>
        <p:spPr>
          <a:xfrm>
            <a:off x="1470301" y="5790471"/>
            <a:ext cx="333316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ja-JP" altLang="en-US" sz="1050" b="1" dirty="0">
                <a:solidFill>
                  <a:srgbClr val="FF0000"/>
                </a:solidFill>
              </a:rPr>
              <a:t>都立新宿高等学校 </a:t>
            </a:r>
            <a:r>
              <a:rPr kumimoji="1" lang="en-US" altLang="ja-JP" sz="1050" b="1" dirty="0">
                <a:solidFill>
                  <a:srgbClr val="FF0000"/>
                </a:solidFill>
              </a:rPr>
              <a:t>(</a:t>
            </a:r>
            <a:r>
              <a:rPr kumimoji="1" lang="ja-JP" altLang="en-US" sz="1050" b="1" dirty="0">
                <a:solidFill>
                  <a:srgbClr val="FF0000"/>
                </a:solidFill>
              </a:rPr>
              <a:t>男</a:t>
            </a:r>
            <a:r>
              <a:rPr kumimoji="1" lang="en-US" altLang="ja-JP" sz="1050" b="1" dirty="0">
                <a:solidFill>
                  <a:srgbClr val="FF0000"/>
                </a:solidFill>
              </a:rPr>
              <a:t>)</a:t>
            </a:r>
            <a:r>
              <a:rPr kumimoji="1" lang="ja-JP" altLang="en-US" sz="1050" b="1" dirty="0">
                <a:solidFill>
                  <a:srgbClr val="FF0000"/>
                </a:solidFill>
              </a:rPr>
              <a:t>顧問太郎</a:t>
            </a:r>
            <a:endParaRPr lang="ja-JP" altLang="en-US" sz="1050" dirty="0"/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A422A891-F6D2-EEC7-B5EA-6056042C9156}"/>
              </a:ext>
            </a:extLst>
          </p:cNvPr>
          <p:cNvSpPr txBox="1"/>
          <p:nvPr/>
        </p:nvSpPr>
        <p:spPr>
          <a:xfrm>
            <a:off x="283928" y="5105476"/>
            <a:ext cx="463097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ja-JP" sz="1100" b="1" dirty="0">
                <a:solidFill>
                  <a:schemeClr val="tx1"/>
                </a:solidFill>
              </a:rPr>
              <a:t>【</a:t>
            </a:r>
            <a:r>
              <a:rPr kumimoji="1" lang="ja-JP" altLang="en-US" sz="1100" b="1" dirty="0">
                <a:solidFill>
                  <a:schemeClr val="tx1"/>
                </a:solidFill>
              </a:rPr>
              <a:t>入力例</a:t>
            </a:r>
            <a:r>
              <a:rPr kumimoji="1" lang="en-US" altLang="ja-JP" sz="1100" b="1" dirty="0">
                <a:solidFill>
                  <a:schemeClr val="tx1"/>
                </a:solidFill>
              </a:rPr>
              <a:t>】</a:t>
            </a:r>
            <a:r>
              <a:rPr kumimoji="1" lang="ja-JP" altLang="en-US" sz="1100" b="1" dirty="0">
                <a:solidFill>
                  <a:schemeClr val="tx1"/>
                </a:solidFill>
              </a:rPr>
              <a:t>東京都立新宿高等学校 登山部</a:t>
            </a:r>
            <a:r>
              <a:rPr kumimoji="1" lang="en-US" altLang="ja-JP" sz="1100" b="1" dirty="0">
                <a:solidFill>
                  <a:schemeClr val="tx1"/>
                </a:solidFill>
              </a:rPr>
              <a:t>(</a:t>
            </a:r>
            <a:r>
              <a:rPr kumimoji="1" lang="ja-JP" altLang="en-US" sz="1100" b="1" dirty="0">
                <a:solidFill>
                  <a:schemeClr val="tx1"/>
                </a:solidFill>
              </a:rPr>
              <a:t>男子</a:t>
            </a:r>
            <a:r>
              <a:rPr kumimoji="1" lang="en-US" altLang="ja-JP" sz="1100" b="1" dirty="0">
                <a:solidFill>
                  <a:schemeClr val="tx1"/>
                </a:solidFill>
              </a:rPr>
              <a:t>)</a:t>
            </a:r>
            <a:r>
              <a:rPr kumimoji="1" lang="ja-JP" altLang="en-US" sz="1100" b="1" dirty="0">
                <a:solidFill>
                  <a:schemeClr val="tx1"/>
                </a:solidFill>
              </a:rPr>
              <a:t> の参加申込書の場合</a:t>
            </a:r>
            <a:endParaRPr kumimoji="1" lang="en-US" altLang="ja-JP" sz="1100" b="1" dirty="0">
              <a:solidFill>
                <a:schemeClr val="tx1"/>
              </a:solidFill>
            </a:endParaRPr>
          </a:p>
        </p:txBody>
      </p:sp>
      <p:pic>
        <p:nvPicPr>
          <p:cNvPr id="42" name="図 41">
            <a:extLst>
              <a:ext uri="{FF2B5EF4-FFF2-40B4-BE49-F238E27FC236}">
                <a16:creationId xmlns:a16="http://schemas.microsoft.com/office/drawing/2014/main" id="{FAF5C801-1568-42DC-0F54-CA6A5FA6BBF7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45267" r="29767" b="50001"/>
          <a:stretch>
            <a:fillRect/>
          </a:stretch>
        </p:blipFill>
        <p:spPr>
          <a:xfrm>
            <a:off x="313944" y="5440449"/>
            <a:ext cx="4489523" cy="2704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4BC5AE5-2621-C339-263D-F45BEE23C521}"/>
              </a:ext>
            </a:extLst>
          </p:cNvPr>
          <p:cNvSpPr txBox="1"/>
          <p:nvPr/>
        </p:nvSpPr>
        <p:spPr>
          <a:xfrm>
            <a:off x="2177705" y="5452670"/>
            <a:ext cx="63217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en-US" altLang="ja-JP" sz="1050" b="1" dirty="0">
                <a:solidFill>
                  <a:srgbClr val="FF0000"/>
                </a:solidFill>
              </a:rPr>
              <a:t>06</a:t>
            </a:r>
            <a:r>
              <a:rPr kumimoji="1" lang="ja-JP" altLang="en-US" sz="1050" b="1" dirty="0">
                <a:solidFill>
                  <a:srgbClr val="FF0000"/>
                </a:solidFill>
              </a:rPr>
              <a:t>東京</a:t>
            </a:r>
            <a:endParaRPr lang="ja-JP" altLang="en-US" sz="1050" dirty="0"/>
          </a:p>
        </p:txBody>
      </p:sp>
      <p:cxnSp>
        <p:nvCxnSpPr>
          <p:cNvPr id="44" name="直線コネクタ 43">
            <a:extLst>
              <a:ext uri="{FF2B5EF4-FFF2-40B4-BE49-F238E27FC236}">
                <a16:creationId xmlns:a16="http://schemas.microsoft.com/office/drawing/2014/main" id="{B3152C64-F11E-1B32-C371-B038D24AC402}"/>
              </a:ext>
            </a:extLst>
          </p:cNvPr>
          <p:cNvCxnSpPr/>
          <p:nvPr/>
        </p:nvCxnSpPr>
        <p:spPr>
          <a:xfrm>
            <a:off x="367748" y="4989444"/>
            <a:ext cx="463097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A388F8EB-D344-DAD5-0F1D-DA1702C81B43}"/>
              </a:ext>
            </a:extLst>
          </p:cNvPr>
          <p:cNvSpPr/>
          <p:nvPr/>
        </p:nvSpPr>
        <p:spPr>
          <a:xfrm>
            <a:off x="249667" y="2441613"/>
            <a:ext cx="4782335" cy="1006305"/>
          </a:xfrm>
          <a:prstGeom prst="roundRect">
            <a:avLst>
              <a:gd name="adj" fmla="val 15578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400" b="1" dirty="0">
                <a:solidFill>
                  <a:schemeClr val="bg1"/>
                </a:solidFill>
                <a:highlight>
                  <a:srgbClr val="FF0000"/>
                </a:highlight>
              </a:rPr>
              <a:t>ルール②</a:t>
            </a:r>
            <a:r>
              <a:rPr kumimoji="1" lang="ja-JP" altLang="en-US" sz="1400" b="1" dirty="0">
                <a:solidFill>
                  <a:schemeClr val="bg1"/>
                </a:solidFill>
              </a:rPr>
              <a:t> </a:t>
            </a:r>
            <a:r>
              <a:rPr kumimoji="1" lang="ja-JP" altLang="en-US" sz="1400" b="1" dirty="0">
                <a:solidFill>
                  <a:schemeClr val="tx1"/>
                </a:solidFill>
              </a:rPr>
              <a:t>「所属（専門部・学校名）」欄</a:t>
            </a:r>
            <a:endParaRPr kumimoji="1" lang="en-US" altLang="ja-JP" sz="1400" b="1" dirty="0">
              <a:solidFill>
                <a:schemeClr val="tx1"/>
              </a:solidFill>
            </a:endParaRPr>
          </a:p>
          <a:p>
            <a:endParaRPr kumimoji="1" lang="en-US" altLang="ja-JP" sz="1400" b="1" dirty="0">
              <a:solidFill>
                <a:schemeClr val="tx1"/>
              </a:solidFill>
            </a:endParaRPr>
          </a:p>
          <a:p>
            <a:pPr algn="ctr"/>
            <a:r>
              <a:rPr kumimoji="1" lang="ja-JP" altLang="en-US" sz="1400" dirty="0">
                <a:solidFill>
                  <a:schemeClr val="tx1"/>
                </a:solidFill>
              </a:rPr>
              <a:t>プルダウンより、</a:t>
            </a:r>
            <a:r>
              <a:rPr kumimoji="1" lang="ja-JP" altLang="en-US" sz="1400" dirty="0">
                <a:solidFill>
                  <a:srgbClr val="FF0000"/>
                </a:solidFill>
              </a:rPr>
              <a:t>所属の都県</a:t>
            </a:r>
            <a:r>
              <a:rPr kumimoji="1" lang="ja-JP" altLang="en-US" sz="1400" dirty="0">
                <a:solidFill>
                  <a:schemeClr val="tx1"/>
                </a:solidFill>
              </a:rPr>
              <a:t>をご選択下さい。</a:t>
            </a:r>
            <a:endParaRPr kumimoji="1" lang="en-US" altLang="ja-JP" sz="1000" dirty="0">
              <a:solidFill>
                <a:schemeClr val="tx1"/>
              </a:solidFill>
            </a:endParaRP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4E535B0A-9870-8C1A-6A43-D1D177A0B84D}"/>
              </a:ext>
            </a:extLst>
          </p:cNvPr>
          <p:cNvSpPr/>
          <p:nvPr/>
        </p:nvSpPr>
        <p:spPr>
          <a:xfrm>
            <a:off x="254485" y="3897076"/>
            <a:ext cx="4782335" cy="932955"/>
          </a:xfrm>
          <a:prstGeom prst="roundRect">
            <a:avLst>
              <a:gd name="adj" fmla="val 19441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400" b="1" dirty="0">
                <a:solidFill>
                  <a:schemeClr val="bg1"/>
                </a:solidFill>
                <a:highlight>
                  <a:srgbClr val="FF0000"/>
                </a:highlight>
              </a:rPr>
              <a:t>ルール③</a:t>
            </a:r>
            <a:r>
              <a:rPr kumimoji="1" lang="ja-JP" altLang="en-US" sz="1400" b="1" dirty="0">
                <a:solidFill>
                  <a:schemeClr val="bg1"/>
                </a:solidFill>
              </a:rPr>
              <a:t> </a:t>
            </a:r>
            <a:r>
              <a:rPr kumimoji="1" lang="ja-JP" altLang="en-US" sz="1200" b="1" dirty="0">
                <a:solidFill>
                  <a:schemeClr val="tx1"/>
                </a:solidFill>
              </a:rPr>
              <a:t>「氏名」欄：</a:t>
            </a:r>
            <a:r>
              <a:rPr kumimoji="1" lang="ja-JP" altLang="en-US" sz="1200" dirty="0">
                <a:solidFill>
                  <a:srgbClr val="FF0000"/>
                </a:solidFill>
              </a:rPr>
              <a:t>学校名・</a:t>
            </a:r>
            <a:r>
              <a:rPr kumimoji="1" lang="en-US" altLang="ja-JP" sz="1200" dirty="0">
                <a:solidFill>
                  <a:srgbClr val="FF0000"/>
                </a:solidFill>
              </a:rPr>
              <a:t>(</a:t>
            </a:r>
            <a:r>
              <a:rPr kumimoji="1" lang="ja-JP" altLang="en-US" sz="1200" dirty="0">
                <a:solidFill>
                  <a:srgbClr val="FF0000"/>
                </a:solidFill>
              </a:rPr>
              <a:t>男女</a:t>
            </a:r>
            <a:r>
              <a:rPr kumimoji="1" lang="en-US" altLang="ja-JP" sz="1200" dirty="0">
                <a:solidFill>
                  <a:srgbClr val="FF0000"/>
                </a:solidFill>
              </a:rPr>
              <a:t>)</a:t>
            </a:r>
            <a:r>
              <a:rPr kumimoji="1" lang="ja-JP" altLang="en-US" sz="1200" dirty="0">
                <a:solidFill>
                  <a:srgbClr val="FF0000"/>
                </a:solidFill>
              </a:rPr>
              <a:t>・顧問名</a:t>
            </a:r>
            <a:r>
              <a:rPr kumimoji="1" lang="ja-JP" altLang="en-US" sz="1200" dirty="0">
                <a:solidFill>
                  <a:schemeClr val="tx1"/>
                </a:solidFill>
              </a:rPr>
              <a:t>をご入力下さい。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r>
              <a:rPr kumimoji="1" lang="ja-JP" altLang="en-US" sz="800" b="1" dirty="0">
                <a:solidFill>
                  <a:schemeClr val="tx1"/>
                </a:solidFill>
              </a:rPr>
              <a:t>　</a:t>
            </a:r>
            <a:endParaRPr kumimoji="1" lang="en-US" altLang="ja-JP" sz="1400" b="1" dirty="0">
              <a:solidFill>
                <a:schemeClr val="tx1"/>
              </a:solidFill>
            </a:endParaRPr>
          </a:p>
          <a:p>
            <a:pPr algn="ctr"/>
            <a:r>
              <a:rPr kumimoji="1" lang="en-US" altLang="ja-JP" sz="1200" dirty="0">
                <a:solidFill>
                  <a:schemeClr val="tx1"/>
                </a:solidFill>
              </a:rPr>
              <a:t>※</a:t>
            </a:r>
            <a:r>
              <a:rPr kumimoji="1" lang="ja-JP" altLang="en-US" sz="1200" dirty="0">
                <a:solidFill>
                  <a:schemeClr val="tx1"/>
                </a:solidFill>
              </a:rPr>
              <a:t>独自の入力ルールを設定されている専門部もございます。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algn="ctr"/>
            <a:r>
              <a:rPr kumimoji="1" lang="ja-JP" altLang="en-US" sz="1200" dirty="0">
                <a:solidFill>
                  <a:schemeClr val="tx1"/>
                </a:solidFill>
              </a:rPr>
              <a:t>　詳細につきましては大会要項をご確認下さい。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br>
              <a:rPr kumimoji="1" lang="en-US" altLang="ja-JP" sz="1000" b="1" dirty="0">
                <a:solidFill>
                  <a:schemeClr val="tx1"/>
                </a:solidFill>
              </a:rPr>
            </a:br>
            <a:endParaRPr kumimoji="1" lang="en-US" altLang="ja-JP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8314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37B78A-6ACA-D0D8-ECA3-DB62119ED8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ED99CE8-1B79-8485-6392-6206D04840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ED99CE8-1B79-8485-6392-6206D04840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90A794EA-57D8-7D3E-EF88-887B2DBB030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A1AC14F3-7BCF-B7E6-CF66-C37C6B4DE1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ＭＳ Ｐゴシック (太字)"/>
                <a:ea typeface="Meiryo UI" panose="020B0604030504040204" pitchFamily="50" charset="-128"/>
              </a:rPr>
              <a:pPr/>
              <a:t>2</a:t>
            </a:fld>
            <a:endParaRPr lang="ja" altLang="en-US">
              <a:latin typeface="ＭＳ Ｐゴシック (太字)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46ACD470-A16B-58E7-5D15-BF5314E59607}"/>
              </a:ext>
            </a:extLst>
          </p:cNvPr>
          <p:cNvSpPr txBox="1"/>
          <p:nvPr/>
        </p:nvSpPr>
        <p:spPr>
          <a:xfrm>
            <a:off x="2983524" y="6493385"/>
            <a:ext cx="3587842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ＭＳ Ｐゴシック (太字)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ＭＳ Ｐゴシック (太字)"/>
              </a:rPr>
              <a:t>ASFEEL</a:t>
            </a:r>
            <a:r>
              <a:rPr lang="en-US" altLang="ja-JP" sz="1200">
                <a:solidFill>
                  <a:schemeClr val="bg1"/>
                </a:solidFill>
                <a:effectLst/>
                <a:latin typeface="ＭＳ Ｐゴシック (太字)"/>
              </a:rPr>
              <a:t>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ＭＳ Ｐゴシック (太字)"/>
              </a:rPr>
              <a:t> All Rights Reserved.</a:t>
            </a:r>
          </a:p>
        </p:txBody>
      </p:sp>
      <p:pic>
        <p:nvPicPr>
          <p:cNvPr id="4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5A530393-3DB8-A173-AF1A-BA4E9ED128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4455" y="111287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2CF295E6-4208-C6F9-C844-4E5D81769ED1}"/>
              </a:ext>
            </a:extLst>
          </p:cNvPr>
          <p:cNvSpPr txBox="1"/>
          <p:nvPr/>
        </p:nvSpPr>
        <p:spPr>
          <a:xfrm>
            <a:off x="145883" y="183987"/>
            <a:ext cx="7179256" cy="461665"/>
          </a:xfrm>
          <a:prstGeom prst="rect">
            <a:avLst/>
          </a:prstGeom>
          <a:noFill/>
        </p:spPr>
        <p:txBody>
          <a:bodyPr wrap="square" rIns="360000">
            <a:spAutoFit/>
          </a:bodyPr>
          <a:lstStyle/>
          <a:p>
            <a:r>
              <a:rPr lang="ja-JP" altLang="en-US" sz="2400" b="1" dirty="0">
                <a:solidFill>
                  <a:srgbClr val="0166B3"/>
                </a:solidFill>
                <a:latin typeface="ＭＳ Ｐゴシック (太字)"/>
                <a:ea typeface="游ゴシック" panose="020B0400000000000000" pitchFamily="50" charset="-128"/>
              </a:rPr>
              <a:t>関東大会参加申込書 </a:t>
            </a:r>
            <a:r>
              <a:rPr lang="en-US" altLang="ja-JP" sz="2400" b="1" dirty="0">
                <a:solidFill>
                  <a:srgbClr val="0166B3"/>
                </a:solidFill>
                <a:latin typeface="ＭＳ Ｐゴシック (太字)"/>
                <a:ea typeface="游ゴシック" panose="020B0400000000000000" pitchFamily="50" charset="-128"/>
              </a:rPr>
              <a:t>HP</a:t>
            </a:r>
            <a:r>
              <a:rPr lang="ja-JP" altLang="en-US" sz="2400" b="1" dirty="0">
                <a:solidFill>
                  <a:srgbClr val="0166B3"/>
                </a:solidFill>
                <a:latin typeface="ＭＳ Ｐゴシック (太字)"/>
                <a:ea typeface="游ゴシック" panose="020B0400000000000000" pitchFamily="50" charset="-128"/>
              </a:rPr>
              <a:t>提出の流れ</a:t>
            </a:r>
            <a:endParaRPr kumimoji="1" lang="ja-JP" altLang="en-US" sz="2400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AE75EDAF-0A06-596D-D841-356230D45D67}"/>
              </a:ext>
            </a:extLst>
          </p:cNvPr>
          <p:cNvSpPr/>
          <p:nvPr/>
        </p:nvSpPr>
        <p:spPr>
          <a:xfrm>
            <a:off x="2896494" y="1051158"/>
            <a:ext cx="4113012" cy="57023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2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参加校</a:t>
            </a: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DC15F734-AA0F-639E-43D0-015AD054B092}"/>
              </a:ext>
            </a:extLst>
          </p:cNvPr>
          <p:cNvSpPr/>
          <p:nvPr/>
        </p:nvSpPr>
        <p:spPr>
          <a:xfrm>
            <a:off x="594821" y="4793204"/>
            <a:ext cx="4113012" cy="68477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2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都県 専門部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3A956B38-CF54-5565-08A6-421A25EA6B85}"/>
              </a:ext>
            </a:extLst>
          </p:cNvPr>
          <p:cNvSpPr/>
          <p:nvPr/>
        </p:nvSpPr>
        <p:spPr>
          <a:xfrm>
            <a:off x="5198166" y="4786064"/>
            <a:ext cx="4113010" cy="68998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2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開催都県 専門部</a:t>
            </a:r>
            <a:br>
              <a:rPr kumimoji="1" lang="en-US" altLang="ja-JP" sz="2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</a:br>
            <a:r>
              <a:rPr kumimoji="1" lang="ja-JP" altLang="en-US" sz="18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（大会本部）</a:t>
            </a: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721DA9E8-F52A-6039-0D88-7446C508FF92}"/>
              </a:ext>
            </a:extLst>
          </p:cNvPr>
          <p:cNvSpPr txBox="1"/>
          <p:nvPr/>
        </p:nvSpPr>
        <p:spPr>
          <a:xfrm>
            <a:off x="1473386" y="3510448"/>
            <a:ext cx="1654620" cy="597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大会参加申込書</a:t>
            </a:r>
            <a:endParaRPr kumimoji="1" lang="en-US" altLang="ja-JP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（</a:t>
            </a:r>
            <a:r>
              <a:rPr kumimoji="1" lang="en-US" altLang="ja-JP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P.5</a:t>
            </a:r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～）</a:t>
            </a:r>
          </a:p>
        </p:txBody>
      </p: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233CED4A-CD7A-DEC2-2F15-2F4569D3CA40}"/>
              </a:ext>
            </a:extLst>
          </p:cNvPr>
          <p:cNvSpPr txBox="1"/>
          <p:nvPr/>
        </p:nvSpPr>
        <p:spPr>
          <a:xfrm>
            <a:off x="7319270" y="3508784"/>
            <a:ext cx="1864677" cy="8508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開催県専門部に</a:t>
            </a:r>
            <a:endParaRPr kumimoji="1" lang="en-US" altLang="ja-JP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r"/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直接提出する書類</a:t>
            </a:r>
            <a:endParaRPr kumimoji="1" lang="en-US" altLang="ja-JP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r"/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（</a:t>
            </a:r>
            <a:r>
              <a:rPr kumimoji="1" lang="en-US" altLang="ja-JP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P.8</a:t>
            </a:r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～）</a:t>
            </a:r>
            <a:endParaRPr kumimoji="1" lang="en-US" altLang="ja-JP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0D88683C-4395-D2C6-B7A4-9B03BE1E499B}"/>
              </a:ext>
            </a:extLst>
          </p:cNvPr>
          <p:cNvSpPr/>
          <p:nvPr/>
        </p:nvSpPr>
        <p:spPr>
          <a:xfrm>
            <a:off x="3792156" y="1942910"/>
            <a:ext cx="2321688" cy="42842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様式ダウンロード</a:t>
            </a: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6C97B838-683E-36C1-3CF2-0C8D255D93F8}"/>
              </a:ext>
            </a:extLst>
          </p:cNvPr>
          <p:cNvSpPr/>
          <p:nvPr/>
        </p:nvSpPr>
        <p:spPr>
          <a:xfrm>
            <a:off x="3792156" y="2692853"/>
            <a:ext cx="2321688" cy="42842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作成</a:t>
            </a:r>
          </a:p>
        </p:txBody>
      </p:sp>
      <p:cxnSp>
        <p:nvCxnSpPr>
          <p:cNvPr id="10" name="直線矢印コネクタ 9">
            <a:extLst>
              <a:ext uri="{FF2B5EF4-FFF2-40B4-BE49-F238E27FC236}">
                <a16:creationId xmlns:a16="http://schemas.microsoft.com/office/drawing/2014/main" id="{5D2DF237-AB26-08E0-4859-CA83FCD4E738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>
            <a:off x="4953000" y="2371339"/>
            <a:ext cx="0" cy="32151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矢印コネクタ 13">
            <a:extLst>
              <a:ext uri="{FF2B5EF4-FFF2-40B4-BE49-F238E27FC236}">
                <a16:creationId xmlns:a16="http://schemas.microsoft.com/office/drawing/2014/main" id="{BDBC5BEC-5D7E-D3BD-F6E1-45C472A4AEFF}"/>
              </a:ext>
            </a:extLst>
          </p:cNvPr>
          <p:cNvCxnSpPr>
            <a:cxnSpLocks/>
            <a:stCxn id="11" idx="2"/>
            <a:endCxn id="5" idx="0"/>
          </p:cNvCxnSpPr>
          <p:nvPr/>
        </p:nvCxnSpPr>
        <p:spPr>
          <a:xfrm>
            <a:off x="4953000" y="1621397"/>
            <a:ext cx="0" cy="321513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コネクタ: カギ線 47">
            <a:extLst>
              <a:ext uri="{FF2B5EF4-FFF2-40B4-BE49-F238E27FC236}">
                <a16:creationId xmlns:a16="http://schemas.microsoft.com/office/drawing/2014/main" id="{FAD0999E-D230-0A80-C322-558C241E5FBD}"/>
              </a:ext>
            </a:extLst>
          </p:cNvPr>
          <p:cNvCxnSpPr>
            <a:cxnSpLocks/>
          </p:cNvCxnSpPr>
          <p:nvPr/>
        </p:nvCxnSpPr>
        <p:spPr>
          <a:xfrm rot="16200000" flipH="1">
            <a:off x="5286684" y="2802837"/>
            <a:ext cx="1664782" cy="2301671"/>
          </a:xfrm>
          <a:prstGeom prst="bentConnector3">
            <a:avLst>
              <a:gd name="adj1" fmla="val 50000"/>
            </a:avLst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コネクタ: カギ線 14">
            <a:extLst>
              <a:ext uri="{FF2B5EF4-FFF2-40B4-BE49-F238E27FC236}">
                <a16:creationId xmlns:a16="http://schemas.microsoft.com/office/drawing/2014/main" id="{2E134263-DFDB-62CF-6ABD-F6C7DBF974E5}"/>
              </a:ext>
            </a:extLst>
          </p:cNvPr>
          <p:cNvCxnSpPr>
            <a:cxnSpLocks/>
          </p:cNvCxnSpPr>
          <p:nvPr/>
        </p:nvCxnSpPr>
        <p:spPr>
          <a:xfrm rot="5400000">
            <a:off x="2950963" y="2806407"/>
            <a:ext cx="1671922" cy="2301673"/>
          </a:xfrm>
          <a:prstGeom prst="bent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CA50F371-45A3-EEC4-764D-80C29426A396}"/>
              </a:ext>
            </a:extLst>
          </p:cNvPr>
          <p:cNvSpPr txBox="1"/>
          <p:nvPr/>
        </p:nvSpPr>
        <p:spPr>
          <a:xfrm>
            <a:off x="6001338" y="2002864"/>
            <a:ext cx="1140056" cy="34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（</a:t>
            </a:r>
            <a:r>
              <a:rPr kumimoji="1" lang="en-US" altLang="ja-JP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P.3</a:t>
            </a:r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～）</a:t>
            </a:r>
          </a:p>
        </p:txBody>
      </p:sp>
    </p:spTree>
    <p:extLst>
      <p:ext uri="{BB962C8B-B14F-4D97-AF65-F5344CB8AC3E}">
        <p14:creationId xmlns:p14="http://schemas.microsoft.com/office/powerpoint/2010/main" val="19213881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FA8C36-EAEE-3E80-4FAA-FD734CF2E6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5E7A6B9-23A7-42D6-9F04-D8396E55E1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5E7A6B9-23A7-42D6-9F04-D8396E55E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1CF032DF-0251-AF02-5CC1-F4FA632723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4D55A350-4124-B02D-2B8E-185D68463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3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BDD5540B-C05D-6A03-0868-F8830AA95640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42B64642-37FC-5CEE-064F-0154A8BA48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7AF1D60-0D30-6C0E-BC30-2792C583060C}"/>
              </a:ext>
            </a:extLst>
          </p:cNvPr>
          <p:cNvSpPr txBox="1"/>
          <p:nvPr/>
        </p:nvSpPr>
        <p:spPr>
          <a:xfrm>
            <a:off x="1152922" y="3136613"/>
            <a:ext cx="76001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3200" b="1" dirty="0"/>
              <a:t>大会参加申込書様式のダウンロード方法</a:t>
            </a:r>
            <a:endParaRPr kumimoji="1" lang="en-US" altLang="ja-JP" sz="3200" b="1" dirty="0"/>
          </a:p>
        </p:txBody>
      </p:sp>
    </p:spTree>
    <p:extLst>
      <p:ext uri="{BB962C8B-B14F-4D97-AF65-F5344CB8AC3E}">
        <p14:creationId xmlns:p14="http://schemas.microsoft.com/office/powerpoint/2010/main" val="11116157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5DD658-849C-E3C5-4EBD-75AFDF830C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Web サイト が含まれている画像&#10;&#10;AI 生成コンテンツは誤りを含む可能性があります。">
            <a:extLst>
              <a:ext uri="{FF2B5EF4-FFF2-40B4-BE49-F238E27FC236}">
                <a16:creationId xmlns:a16="http://schemas.microsoft.com/office/drawing/2014/main" id="{46356468-E753-A903-D957-6E893D45124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35116"/>
          <a:stretch>
            <a:fillRect/>
          </a:stretch>
        </p:blipFill>
        <p:spPr>
          <a:xfrm>
            <a:off x="204113" y="1564232"/>
            <a:ext cx="3795359" cy="387060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98C9AD4-E862-464D-A7C8-262B67FC90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98C9AD4-E862-464D-A7C8-262B67FC9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76DACCD1-5150-5744-3DAB-BD9A7A6F18B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838FDC89-F87D-791B-59A3-5048E8701B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4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3B96C0D-BCF2-AE4B-4496-6C72A6F7C64F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78300AE1-BD17-5D75-6B50-43D377238F9A}"/>
              </a:ext>
            </a:extLst>
          </p:cNvPr>
          <p:cNvSpPr txBox="1"/>
          <p:nvPr/>
        </p:nvSpPr>
        <p:spPr>
          <a:xfrm>
            <a:off x="145883" y="183987"/>
            <a:ext cx="6244159" cy="461665"/>
          </a:xfrm>
          <a:prstGeom prst="rect">
            <a:avLst/>
          </a:prstGeom>
          <a:noFill/>
        </p:spPr>
        <p:txBody>
          <a:bodyPr wrap="square" rIns="360000">
            <a:spAutoFit/>
          </a:bodyPr>
          <a:lstStyle/>
          <a:p>
            <a:r>
              <a:rPr kumimoji="1" lang="ja-JP" altLang="en-US" sz="2400" b="1" dirty="0">
                <a:solidFill>
                  <a:srgbClr val="0166B3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詳細手順</a:t>
            </a:r>
            <a:endParaRPr lang="en-US" altLang="ja-JP" sz="2400" b="1" dirty="0">
              <a:solidFill>
                <a:srgbClr val="0166B3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73F22006-F8B6-9D0C-9CCB-9D8DB394BCF4}"/>
              </a:ext>
            </a:extLst>
          </p:cNvPr>
          <p:cNvSpPr txBox="1"/>
          <p:nvPr/>
        </p:nvSpPr>
        <p:spPr>
          <a:xfrm>
            <a:off x="145883" y="712292"/>
            <a:ext cx="6239288" cy="34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①大会要項・大会参加申込書様式等の書類をダウンロード</a:t>
            </a: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DFD212D3-E098-61A2-D022-769FC95732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3" name="テキスト ボックス 162">
            <a:extLst>
              <a:ext uri="{FF2B5EF4-FFF2-40B4-BE49-F238E27FC236}">
                <a16:creationId xmlns:a16="http://schemas.microsoft.com/office/drawing/2014/main" id="{B0581C7D-8874-0D5A-8A54-9A968D92ACE2}"/>
              </a:ext>
            </a:extLst>
          </p:cNvPr>
          <p:cNvSpPr txBox="1"/>
          <p:nvPr/>
        </p:nvSpPr>
        <p:spPr>
          <a:xfrm>
            <a:off x="204114" y="1127332"/>
            <a:ext cx="37953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１．関東高体連</a:t>
            </a:r>
            <a:r>
              <a:rPr lang="en-US" altLang="ja-JP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TOP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ページ内</a:t>
            </a:r>
            <a:endParaRPr lang="en-US" altLang="ja-JP" sz="1050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　</a:t>
            </a:r>
            <a:r>
              <a:rPr lang="ja-JP" altLang="en-US" sz="105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関東大会出場校はこちら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 をクリック</a:t>
            </a:r>
          </a:p>
        </p:txBody>
      </p:sp>
      <p:sp>
        <p:nvSpPr>
          <p:cNvPr id="196" name="正方形/長方形 195">
            <a:extLst>
              <a:ext uri="{FF2B5EF4-FFF2-40B4-BE49-F238E27FC236}">
                <a16:creationId xmlns:a16="http://schemas.microsoft.com/office/drawing/2014/main" id="{A3BE509E-718E-044F-2B9C-53F6B5D7483C}"/>
              </a:ext>
            </a:extLst>
          </p:cNvPr>
          <p:cNvSpPr/>
          <p:nvPr/>
        </p:nvSpPr>
        <p:spPr>
          <a:xfrm>
            <a:off x="1649413" y="4362171"/>
            <a:ext cx="1293018" cy="4667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8246D24A-8CC8-3B40-1DE1-EEE5C1AAFA68}"/>
              </a:ext>
            </a:extLst>
          </p:cNvPr>
          <p:cNvSpPr txBox="1"/>
          <p:nvPr/>
        </p:nvSpPr>
        <p:spPr>
          <a:xfrm>
            <a:off x="4764314" y="1128834"/>
            <a:ext cx="4157144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２．大会参加申込書のダウンロードの「こちらから」をクリック</a:t>
            </a:r>
          </a:p>
        </p:txBody>
      </p:sp>
      <p:pic>
        <p:nvPicPr>
          <p:cNvPr id="14" name="図 13">
            <a:extLst>
              <a:ext uri="{FF2B5EF4-FFF2-40B4-BE49-F238E27FC236}">
                <a16:creationId xmlns:a16="http://schemas.microsoft.com/office/drawing/2014/main" id="{29C81D8E-D1B2-094F-BF52-47E0D471EC1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64314" y="1439955"/>
            <a:ext cx="2733675" cy="790681"/>
          </a:xfrm>
          <a:prstGeom prst="rect">
            <a:avLst/>
          </a:prstGeom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48BB1B1D-B904-1ED2-388E-D0E7B3A562D9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b="92549"/>
          <a:stretch>
            <a:fillRect/>
          </a:stretch>
        </p:blipFill>
        <p:spPr>
          <a:xfrm>
            <a:off x="4841591" y="2766316"/>
            <a:ext cx="3534474" cy="17807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C67F6469-EBE3-065C-909B-26F674099F81}"/>
              </a:ext>
            </a:extLst>
          </p:cNvPr>
          <p:cNvSpPr txBox="1"/>
          <p:nvPr/>
        </p:nvSpPr>
        <p:spPr>
          <a:xfrm>
            <a:off x="4764314" y="2443284"/>
            <a:ext cx="4157144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３．競技を絞り込み、表示された大会名をクリック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A999B048-F66E-5025-245F-BF4BBA3C3DF7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t="48747" b="35976"/>
          <a:stretch>
            <a:fillRect/>
          </a:stretch>
        </p:blipFill>
        <p:spPr>
          <a:xfrm>
            <a:off x="4841591" y="3316970"/>
            <a:ext cx="3534474" cy="3651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二等辺三角形 18">
            <a:extLst>
              <a:ext uri="{FF2B5EF4-FFF2-40B4-BE49-F238E27FC236}">
                <a16:creationId xmlns:a16="http://schemas.microsoft.com/office/drawing/2014/main" id="{1AE95AC0-DFF8-DCD3-CE3C-C1AEF82DE8E3}"/>
              </a:ext>
            </a:extLst>
          </p:cNvPr>
          <p:cNvSpPr/>
          <p:nvPr/>
        </p:nvSpPr>
        <p:spPr>
          <a:xfrm rot="10800000">
            <a:off x="5932554" y="3032975"/>
            <a:ext cx="1352550" cy="218341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CAA31AFB-C351-DD45-F4F0-F0AD5317FB9D}"/>
              </a:ext>
            </a:extLst>
          </p:cNvPr>
          <p:cNvSpPr/>
          <p:nvPr/>
        </p:nvSpPr>
        <p:spPr>
          <a:xfrm>
            <a:off x="5348514" y="2766317"/>
            <a:ext cx="965199" cy="14353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2AB49ED6-BCC0-5C5A-1540-243AD5608018}"/>
              </a:ext>
            </a:extLst>
          </p:cNvPr>
          <p:cNvSpPr/>
          <p:nvPr/>
        </p:nvSpPr>
        <p:spPr>
          <a:xfrm>
            <a:off x="5348514" y="3339901"/>
            <a:ext cx="1515067" cy="34219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4" name="図 23">
            <a:extLst>
              <a:ext uri="{FF2B5EF4-FFF2-40B4-BE49-F238E27FC236}">
                <a16:creationId xmlns:a16="http://schemas.microsoft.com/office/drawing/2014/main" id="{875345F1-59B3-E3FB-885B-B7ACBFA4768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41591" y="4597197"/>
            <a:ext cx="4228624" cy="12021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56CFCB41-AFEB-C51C-C9B2-C0268FFE69A1}"/>
              </a:ext>
            </a:extLst>
          </p:cNvPr>
          <p:cNvSpPr txBox="1"/>
          <p:nvPr/>
        </p:nvSpPr>
        <p:spPr>
          <a:xfrm>
            <a:off x="4764313" y="4155661"/>
            <a:ext cx="430590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４．表示されている要項や参加申込書フォーマット等をクリックし、</a:t>
            </a:r>
            <a:endParaRPr lang="en-US" altLang="ja-JP" sz="105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　　ダウンロード</a:t>
            </a: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EAE3AD0F-FC48-36C3-9DDF-D953DA562234}"/>
              </a:ext>
            </a:extLst>
          </p:cNvPr>
          <p:cNvSpPr/>
          <p:nvPr/>
        </p:nvSpPr>
        <p:spPr>
          <a:xfrm>
            <a:off x="5610433" y="5431261"/>
            <a:ext cx="2516205" cy="34219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426011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FA8C36-EAEE-3E80-4FAA-FD734CF2E6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5E7A6B9-23A7-42D6-9F04-D8396E55E1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5E7A6B9-23A7-42D6-9F04-D8396E55E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1CF032DF-0251-AF02-5CC1-F4FA632723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4D55A350-4124-B02D-2B8E-185D68463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5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BDD5540B-C05D-6A03-0868-F8830AA95640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42B64642-37FC-5CEE-064F-0154A8BA48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7AF1D60-0D30-6C0E-BC30-2792C583060C}"/>
              </a:ext>
            </a:extLst>
          </p:cNvPr>
          <p:cNvSpPr txBox="1"/>
          <p:nvPr/>
        </p:nvSpPr>
        <p:spPr>
          <a:xfrm>
            <a:off x="1096015" y="3136613"/>
            <a:ext cx="771397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3200" b="1" dirty="0"/>
              <a:t>都県専門部への大会参加申込書 提出方法</a:t>
            </a:r>
            <a:endParaRPr kumimoji="1" lang="en-US" altLang="ja-JP" sz="3200" b="1" dirty="0"/>
          </a:p>
        </p:txBody>
      </p:sp>
    </p:spTree>
    <p:extLst>
      <p:ext uri="{BB962C8B-B14F-4D97-AF65-F5344CB8AC3E}">
        <p14:creationId xmlns:p14="http://schemas.microsoft.com/office/powerpoint/2010/main" val="3464244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60999C-0DA5-4308-7195-0E886A38F4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8901FA89-B0FA-BEF5-5A75-F9ECCBF51F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9020" y="2748285"/>
            <a:ext cx="4888105" cy="42650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図 5" descr="Web サイト が含まれている画像&#10;&#10;AI 生成コンテンツは誤りを含む可能性があります。">
            <a:extLst>
              <a:ext uri="{FF2B5EF4-FFF2-40B4-BE49-F238E27FC236}">
                <a16:creationId xmlns:a16="http://schemas.microsoft.com/office/drawing/2014/main" id="{C556BA24-4F5C-FB68-8866-3EABC830F1D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35116"/>
          <a:stretch>
            <a:fillRect/>
          </a:stretch>
        </p:blipFill>
        <p:spPr>
          <a:xfrm>
            <a:off x="204113" y="1564232"/>
            <a:ext cx="3795359" cy="387060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7FB3BDB-3426-B3D9-8B2D-CD3ECADD38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7FB3BDB-3426-B3D9-8B2D-CD3ECADD3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24260440-F52C-E5E1-9E9F-3EFED242403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9F6EECF2-07BD-F4AC-EDE2-28699A3FF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6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F41604D4-4BE9-ED66-9142-90A346A2328A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1DA6692-B0A2-13CC-3A3D-D782713F574D}"/>
              </a:ext>
            </a:extLst>
          </p:cNvPr>
          <p:cNvSpPr txBox="1"/>
          <p:nvPr/>
        </p:nvSpPr>
        <p:spPr>
          <a:xfrm>
            <a:off x="145883" y="183987"/>
            <a:ext cx="6244159" cy="461665"/>
          </a:xfrm>
          <a:prstGeom prst="rect">
            <a:avLst/>
          </a:prstGeom>
          <a:noFill/>
        </p:spPr>
        <p:txBody>
          <a:bodyPr wrap="square" rIns="360000">
            <a:spAutoFit/>
          </a:bodyPr>
          <a:lstStyle/>
          <a:p>
            <a:r>
              <a:rPr kumimoji="1" lang="ja-JP" altLang="en-US" sz="2400" b="1">
                <a:solidFill>
                  <a:srgbClr val="0166B3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詳細手順</a:t>
            </a:r>
            <a:endParaRPr lang="en-US" altLang="ja-JP" sz="2400" b="1">
              <a:solidFill>
                <a:srgbClr val="0166B3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CB5D5F81-CB07-D478-B2D9-58E481FEF0FC}"/>
              </a:ext>
            </a:extLst>
          </p:cNvPr>
          <p:cNvSpPr txBox="1"/>
          <p:nvPr/>
        </p:nvSpPr>
        <p:spPr>
          <a:xfrm>
            <a:off x="145883" y="712292"/>
            <a:ext cx="6239288" cy="34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b="1">
                <a:latin typeface="游ゴシック" panose="020B0400000000000000" pitchFamily="50" charset="-128"/>
                <a:ea typeface="游ゴシック" panose="020B0400000000000000" pitchFamily="50" charset="-128"/>
              </a:rPr>
              <a:t>②学校印押印済の申込書を提出</a:t>
            </a: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7799427A-3F38-5AAA-CFEA-9E0DF7A5AA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3" name="テキスト ボックス 162">
            <a:extLst>
              <a:ext uri="{FF2B5EF4-FFF2-40B4-BE49-F238E27FC236}">
                <a16:creationId xmlns:a16="http://schemas.microsoft.com/office/drawing/2014/main" id="{6B4FA314-846B-05F5-2872-CEB9C42F681E}"/>
              </a:ext>
            </a:extLst>
          </p:cNvPr>
          <p:cNvSpPr txBox="1"/>
          <p:nvPr/>
        </p:nvSpPr>
        <p:spPr>
          <a:xfrm>
            <a:off x="204114" y="1127332"/>
            <a:ext cx="37953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１．関東高体連</a:t>
            </a:r>
            <a:r>
              <a:rPr lang="en-US" altLang="ja-JP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TOP</a:t>
            </a:r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ページ内</a:t>
            </a:r>
            <a:endParaRPr lang="en-US" altLang="ja-JP" sz="105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　</a:t>
            </a:r>
            <a:r>
              <a:rPr lang="ja-JP" altLang="en-US" sz="1050" b="1">
                <a:latin typeface="游ゴシック" panose="020B0400000000000000" pitchFamily="50" charset="-128"/>
                <a:ea typeface="游ゴシック" panose="020B0400000000000000" pitchFamily="50" charset="-128"/>
              </a:rPr>
              <a:t>関東大会出場校はこちら</a:t>
            </a:r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 をクリック</a:t>
            </a:r>
          </a:p>
        </p:txBody>
      </p:sp>
      <p:sp>
        <p:nvSpPr>
          <p:cNvPr id="196" name="正方形/長方形 195">
            <a:extLst>
              <a:ext uri="{FF2B5EF4-FFF2-40B4-BE49-F238E27FC236}">
                <a16:creationId xmlns:a16="http://schemas.microsoft.com/office/drawing/2014/main" id="{4F561AC3-E71D-49AF-D2C6-728842CD4F7F}"/>
              </a:ext>
            </a:extLst>
          </p:cNvPr>
          <p:cNvSpPr/>
          <p:nvPr/>
        </p:nvSpPr>
        <p:spPr>
          <a:xfrm>
            <a:off x="1649413" y="4362171"/>
            <a:ext cx="1293018" cy="4667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7CC4D416-A40D-3E08-44A4-23E282544246}"/>
              </a:ext>
            </a:extLst>
          </p:cNvPr>
          <p:cNvSpPr txBox="1"/>
          <p:nvPr/>
        </p:nvSpPr>
        <p:spPr>
          <a:xfrm>
            <a:off x="4691743" y="1128834"/>
            <a:ext cx="415714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２．大会参加申込書</a:t>
            </a:r>
            <a:r>
              <a:rPr lang="en-US" altLang="ja-JP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(</a:t>
            </a:r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記入済・学校印押印済</a:t>
            </a:r>
            <a:r>
              <a:rPr lang="en-US" altLang="ja-JP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)</a:t>
            </a:r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の提出の</a:t>
            </a:r>
            <a:endParaRPr lang="en-US" altLang="ja-JP" sz="105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「こちらから」をクリック</a:t>
            </a: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E3D06D9D-00B0-D86E-178A-A50A2FDC173E}"/>
              </a:ext>
            </a:extLst>
          </p:cNvPr>
          <p:cNvSpPr txBox="1"/>
          <p:nvPr/>
        </p:nvSpPr>
        <p:spPr>
          <a:xfrm>
            <a:off x="4691743" y="2443284"/>
            <a:ext cx="4157144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３．所属の都県をクリック</a:t>
            </a: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949220A5-454A-2BC0-4835-F47A7EEADE2B}"/>
              </a:ext>
            </a:extLst>
          </p:cNvPr>
          <p:cNvSpPr/>
          <p:nvPr/>
        </p:nvSpPr>
        <p:spPr>
          <a:xfrm>
            <a:off x="8460406" y="2996051"/>
            <a:ext cx="1191108" cy="14353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B89FCB1D-423D-8C24-6FCA-8399AF47FE6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56638" y="1540633"/>
            <a:ext cx="3605343" cy="78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4389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CE8204-321C-C369-BBF3-945D9BD6DD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A49D1C1-3B7A-FAC9-BECF-29B3180011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A49D1C1-3B7A-FAC9-BECF-29B3180011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7B30AB43-5AAC-AF52-18D7-4752CC84108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56CB5764-7F8B-1F53-8FDD-55A0D77F1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7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1B22C788-5BD8-35A3-23D5-6C92622DDA6F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D3CD7B6E-AE7F-1AD8-34C7-DCAC93853491}"/>
              </a:ext>
            </a:extLst>
          </p:cNvPr>
          <p:cNvSpPr txBox="1"/>
          <p:nvPr/>
        </p:nvSpPr>
        <p:spPr>
          <a:xfrm>
            <a:off x="145883" y="183987"/>
            <a:ext cx="6244159" cy="461665"/>
          </a:xfrm>
          <a:prstGeom prst="rect">
            <a:avLst/>
          </a:prstGeom>
          <a:noFill/>
        </p:spPr>
        <p:txBody>
          <a:bodyPr wrap="square" rIns="360000">
            <a:spAutoFit/>
          </a:bodyPr>
          <a:lstStyle/>
          <a:p>
            <a:r>
              <a:rPr kumimoji="1" lang="ja-JP" altLang="en-US" sz="2400" b="1">
                <a:solidFill>
                  <a:srgbClr val="0166B3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詳細手順</a:t>
            </a:r>
            <a:endParaRPr lang="en-US" altLang="ja-JP" sz="2400" b="1">
              <a:solidFill>
                <a:srgbClr val="0166B3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DC72D421-7684-CB9E-3E1A-A5E51684989B}"/>
              </a:ext>
            </a:extLst>
          </p:cNvPr>
          <p:cNvSpPr txBox="1"/>
          <p:nvPr/>
        </p:nvSpPr>
        <p:spPr>
          <a:xfrm>
            <a:off x="145883" y="712292"/>
            <a:ext cx="6791630" cy="34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b="1">
                <a:latin typeface="游ゴシック" panose="020B0400000000000000" pitchFamily="50" charset="-128"/>
                <a:ea typeface="游ゴシック" panose="020B0400000000000000" pitchFamily="50" charset="-128"/>
              </a:rPr>
              <a:t>②学校印押印済の申込書を提出</a:t>
            </a: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5E813413-DF67-4031-1BC6-6AB27C3327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図 30">
            <a:extLst>
              <a:ext uri="{FF2B5EF4-FFF2-40B4-BE49-F238E27FC236}">
                <a16:creationId xmlns:a16="http://schemas.microsoft.com/office/drawing/2014/main" id="{E3DDFEA6-1F97-8768-793D-B678A7A210E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53430" y="2253180"/>
            <a:ext cx="4489524" cy="401259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B8657973-4AF4-6448-AF1F-DB5AC7CCA318}"/>
              </a:ext>
            </a:extLst>
          </p:cNvPr>
          <p:cNvSpPr/>
          <p:nvPr/>
        </p:nvSpPr>
        <p:spPr>
          <a:xfrm>
            <a:off x="5253430" y="4005337"/>
            <a:ext cx="3534108" cy="29290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623A182A-49B6-291D-EB10-DBF9E7ADCE11}"/>
              </a:ext>
            </a:extLst>
          </p:cNvPr>
          <p:cNvCxnSpPr>
            <a:cxnSpLocks/>
            <a:endCxn id="4" idx="1"/>
          </p:cNvCxnSpPr>
          <p:nvPr/>
        </p:nvCxnSpPr>
        <p:spPr>
          <a:xfrm>
            <a:off x="5036820" y="2973020"/>
            <a:ext cx="216610" cy="117877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26AEF3E3-7875-EEE4-8418-0CD5CDC99052}"/>
              </a:ext>
            </a:extLst>
          </p:cNvPr>
          <p:cNvSpPr/>
          <p:nvPr/>
        </p:nvSpPr>
        <p:spPr>
          <a:xfrm>
            <a:off x="5253430" y="4447020"/>
            <a:ext cx="3534108" cy="29290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44" name="直線コネクタ 43">
            <a:extLst>
              <a:ext uri="{FF2B5EF4-FFF2-40B4-BE49-F238E27FC236}">
                <a16:creationId xmlns:a16="http://schemas.microsoft.com/office/drawing/2014/main" id="{1DE3A73E-22B9-B33F-7A4B-C118AB2F1539}"/>
              </a:ext>
            </a:extLst>
          </p:cNvPr>
          <p:cNvCxnSpPr>
            <a:cxnSpLocks/>
            <a:stCxn id="8" idx="3"/>
            <a:endCxn id="41" idx="1"/>
          </p:cNvCxnSpPr>
          <p:nvPr/>
        </p:nvCxnSpPr>
        <p:spPr>
          <a:xfrm>
            <a:off x="5036820" y="4363554"/>
            <a:ext cx="216610" cy="22992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四角形: 角を丸くする 60">
            <a:extLst>
              <a:ext uri="{FF2B5EF4-FFF2-40B4-BE49-F238E27FC236}">
                <a16:creationId xmlns:a16="http://schemas.microsoft.com/office/drawing/2014/main" id="{C1737960-0CA0-B54E-F383-D427418B36A4}"/>
              </a:ext>
            </a:extLst>
          </p:cNvPr>
          <p:cNvSpPr/>
          <p:nvPr/>
        </p:nvSpPr>
        <p:spPr>
          <a:xfrm>
            <a:off x="254485" y="1411291"/>
            <a:ext cx="9488469" cy="741228"/>
          </a:xfrm>
          <a:prstGeom prst="roundRect">
            <a:avLst>
              <a:gd name="adj" fmla="val 18634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400" b="1" dirty="0">
                <a:solidFill>
                  <a:schemeClr val="bg1"/>
                </a:solidFill>
                <a:highlight>
                  <a:srgbClr val="FF0000"/>
                </a:highlight>
              </a:rPr>
              <a:t>ルール①</a:t>
            </a:r>
            <a:r>
              <a:rPr kumimoji="1" lang="ja-JP" altLang="en-US" sz="1400" b="1" dirty="0">
                <a:solidFill>
                  <a:schemeClr val="bg1"/>
                </a:solidFill>
              </a:rPr>
              <a:t> </a:t>
            </a:r>
            <a:r>
              <a:rPr kumimoji="1" lang="ja-JP" altLang="en-US" sz="1400" b="1" dirty="0">
                <a:solidFill>
                  <a:schemeClr val="tx1"/>
                </a:solidFill>
              </a:rPr>
              <a:t>提出するファイルが複数ある場合、都度提出して下さい。</a:t>
            </a:r>
            <a:endParaRPr kumimoji="1" lang="en-US" altLang="ja-JP" sz="1400" b="1" dirty="0">
              <a:solidFill>
                <a:schemeClr val="tx1"/>
              </a:solidFill>
            </a:endParaRPr>
          </a:p>
          <a:p>
            <a:r>
              <a:rPr kumimoji="1" lang="ja-JP" altLang="en-US" sz="800" b="1" dirty="0">
                <a:solidFill>
                  <a:srgbClr val="FF0000"/>
                </a:solidFill>
              </a:rPr>
              <a:t>　</a:t>
            </a:r>
            <a:endParaRPr kumimoji="1" lang="en-US" altLang="ja-JP" sz="1400" b="1" dirty="0">
              <a:solidFill>
                <a:srgbClr val="FF0000"/>
              </a:solidFill>
            </a:endParaRPr>
          </a:p>
          <a:p>
            <a:pPr algn="ctr"/>
            <a:r>
              <a:rPr kumimoji="1" lang="en-US" altLang="ja-JP" sz="1000" b="1" dirty="0">
                <a:solidFill>
                  <a:schemeClr val="tx1"/>
                </a:solidFill>
              </a:rPr>
              <a:t>【</a:t>
            </a:r>
            <a:r>
              <a:rPr kumimoji="1" lang="ja-JP" altLang="en-US" sz="1000" b="1" dirty="0">
                <a:solidFill>
                  <a:schemeClr val="tx1"/>
                </a:solidFill>
              </a:rPr>
              <a:t>例</a:t>
            </a:r>
            <a:r>
              <a:rPr kumimoji="1" lang="en-US" altLang="ja-JP" sz="1000" b="1" dirty="0">
                <a:solidFill>
                  <a:schemeClr val="tx1"/>
                </a:solidFill>
              </a:rPr>
              <a:t>】</a:t>
            </a:r>
            <a:r>
              <a:rPr kumimoji="1" lang="ja-JP" altLang="en-US" sz="1000" b="1" dirty="0">
                <a:solidFill>
                  <a:schemeClr val="tx1"/>
                </a:solidFill>
              </a:rPr>
              <a:t>大会申込書含め、提出する書類が</a:t>
            </a:r>
            <a:r>
              <a:rPr kumimoji="1" lang="en-US" altLang="ja-JP" sz="1000" b="1" u="sng" dirty="0">
                <a:solidFill>
                  <a:schemeClr val="tx1"/>
                </a:solidFill>
              </a:rPr>
              <a:t>3</a:t>
            </a:r>
            <a:r>
              <a:rPr kumimoji="1" lang="ja-JP" altLang="en-US" sz="1000" b="1" u="sng" dirty="0">
                <a:solidFill>
                  <a:schemeClr val="tx1"/>
                </a:solidFill>
              </a:rPr>
              <a:t>種類</a:t>
            </a:r>
            <a:r>
              <a:rPr kumimoji="1" lang="ja-JP" altLang="en-US" sz="1000" b="1" dirty="0">
                <a:solidFill>
                  <a:schemeClr val="tx1"/>
                </a:solidFill>
              </a:rPr>
              <a:t>ある場合：こちらのフォームより</a:t>
            </a:r>
            <a:r>
              <a:rPr kumimoji="1" lang="en-US" altLang="ja-JP" sz="1000" b="1" u="sng" dirty="0">
                <a:solidFill>
                  <a:schemeClr val="tx1"/>
                </a:solidFill>
              </a:rPr>
              <a:t>1</a:t>
            </a:r>
            <a:r>
              <a:rPr kumimoji="1" lang="ja-JP" altLang="en-US" sz="1000" b="1" u="sng" dirty="0">
                <a:solidFill>
                  <a:schemeClr val="tx1"/>
                </a:solidFill>
              </a:rPr>
              <a:t>ファイルずつ、</a:t>
            </a:r>
            <a:r>
              <a:rPr kumimoji="1" lang="en-US" altLang="ja-JP" sz="1000" b="1" u="sng" dirty="0">
                <a:solidFill>
                  <a:schemeClr val="tx1"/>
                </a:solidFill>
              </a:rPr>
              <a:t>3</a:t>
            </a:r>
            <a:r>
              <a:rPr kumimoji="1" lang="ja-JP" altLang="en-US" sz="1000" b="1" u="sng" dirty="0">
                <a:solidFill>
                  <a:schemeClr val="tx1"/>
                </a:solidFill>
              </a:rPr>
              <a:t>回提出</a:t>
            </a:r>
            <a:r>
              <a:rPr kumimoji="1" lang="ja-JP" altLang="en-US" sz="1000" b="1" dirty="0">
                <a:solidFill>
                  <a:schemeClr val="tx1"/>
                </a:solidFill>
              </a:rPr>
              <a:t>をして下さい。</a:t>
            </a:r>
            <a:endParaRPr kumimoji="1" lang="en-US" altLang="ja-JP" sz="1000" b="1" dirty="0">
              <a:solidFill>
                <a:schemeClr val="tx1"/>
              </a:solidFill>
            </a:endParaRPr>
          </a:p>
          <a:p>
            <a:pPr algn="ctr"/>
            <a:endParaRPr kumimoji="1" lang="en-US" altLang="ja-JP" sz="600" b="1" dirty="0">
              <a:solidFill>
                <a:srgbClr val="FF0000"/>
              </a:solidFill>
            </a:endParaRPr>
          </a:p>
        </p:txBody>
      </p:sp>
      <p:cxnSp>
        <p:nvCxnSpPr>
          <p:cNvPr id="129" name="直線コネクタ 128">
            <a:extLst>
              <a:ext uri="{FF2B5EF4-FFF2-40B4-BE49-F238E27FC236}">
                <a16:creationId xmlns:a16="http://schemas.microsoft.com/office/drawing/2014/main" id="{54D33EF0-694C-701D-269A-D94BA6838699}"/>
              </a:ext>
            </a:extLst>
          </p:cNvPr>
          <p:cNvCxnSpPr>
            <a:cxnSpLocks/>
            <a:stCxn id="61" idx="2"/>
            <a:endCxn id="131" idx="0"/>
          </p:cNvCxnSpPr>
          <p:nvPr/>
        </p:nvCxnSpPr>
        <p:spPr>
          <a:xfrm>
            <a:off x="4998720" y="2152519"/>
            <a:ext cx="2283142" cy="9240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E2237672-8548-DF92-9A33-81A2093FAD52}"/>
              </a:ext>
            </a:extLst>
          </p:cNvPr>
          <p:cNvSpPr/>
          <p:nvPr/>
        </p:nvSpPr>
        <p:spPr>
          <a:xfrm>
            <a:off x="6581774" y="3076575"/>
            <a:ext cx="1400175" cy="56197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98C03D0-144D-407A-D4D9-F4234B0C9358}"/>
              </a:ext>
            </a:extLst>
          </p:cNvPr>
          <p:cNvSpPr txBox="1"/>
          <p:nvPr/>
        </p:nvSpPr>
        <p:spPr>
          <a:xfrm>
            <a:off x="254485" y="1089767"/>
            <a:ext cx="679163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４．自身の競技名横にある　　　　　　　　　　　から申込書を提出</a:t>
            </a: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234E37AD-0336-9C41-3A6B-AC84A46A383C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71635" t="8761" r="2328" b="11880"/>
          <a:stretch>
            <a:fillRect/>
          </a:stretch>
        </p:blipFill>
        <p:spPr>
          <a:xfrm>
            <a:off x="2014622" y="1037498"/>
            <a:ext cx="1262059" cy="3033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F528CFE5-5524-45FE-B5D0-1DF18C12A2A6}"/>
              </a:ext>
            </a:extLst>
          </p:cNvPr>
          <p:cNvSpPr/>
          <p:nvPr/>
        </p:nvSpPr>
        <p:spPr>
          <a:xfrm>
            <a:off x="254485" y="3897076"/>
            <a:ext cx="4782335" cy="932955"/>
          </a:xfrm>
          <a:prstGeom prst="roundRect">
            <a:avLst>
              <a:gd name="adj" fmla="val 19441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400" b="1" dirty="0">
                <a:solidFill>
                  <a:schemeClr val="bg1"/>
                </a:solidFill>
                <a:highlight>
                  <a:srgbClr val="FF0000"/>
                </a:highlight>
              </a:rPr>
              <a:t>ルール③</a:t>
            </a:r>
            <a:r>
              <a:rPr kumimoji="1" lang="ja-JP" altLang="en-US" sz="1400" b="1" dirty="0">
                <a:solidFill>
                  <a:schemeClr val="bg1"/>
                </a:solidFill>
              </a:rPr>
              <a:t> </a:t>
            </a:r>
            <a:r>
              <a:rPr kumimoji="1" lang="ja-JP" altLang="en-US" sz="1200" b="1" dirty="0">
                <a:solidFill>
                  <a:schemeClr val="tx1"/>
                </a:solidFill>
              </a:rPr>
              <a:t>「氏名」欄：</a:t>
            </a:r>
            <a:r>
              <a:rPr kumimoji="1" lang="ja-JP" altLang="en-US" sz="1200" dirty="0">
                <a:solidFill>
                  <a:srgbClr val="FF0000"/>
                </a:solidFill>
              </a:rPr>
              <a:t>学校名・</a:t>
            </a:r>
            <a:r>
              <a:rPr kumimoji="1" lang="en-US" altLang="ja-JP" sz="1200" dirty="0">
                <a:solidFill>
                  <a:srgbClr val="FF0000"/>
                </a:solidFill>
              </a:rPr>
              <a:t>(</a:t>
            </a:r>
            <a:r>
              <a:rPr kumimoji="1" lang="ja-JP" altLang="en-US" sz="1200" dirty="0">
                <a:solidFill>
                  <a:srgbClr val="FF0000"/>
                </a:solidFill>
              </a:rPr>
              <a:t>男女</a:t>
            </a:r>
            <a:r>
              <a:rPr kumimoji="1" lang="en-US" altLang="ja-JP" sz="1200" dirty="0">
                <a:solidFill>
                  <a:srgbClr val="FF0000"/>
                </a:solidFill>
              </a:rPr>
              <a:t>)</a:t>
            </a:r>
            <a:r>
              <a:rPr kumimoji="1" lang="ja-JP" altLang="en-US" sz="1200" dirty="0">
                <a:solidFill>
                  <a:srgbClr val="FF0000"/>
                </a:solidFill>
              </a:rPr>
              <a:t>・顧問名</a:t>
            </a:r>
            <a:r>
              <a:rPr kumimoji="1" lang="ja-JP" altLang="en-US" sz="1200" dirty="0">
                <a:solidFill>
                  <a:schemeClr val="tx1"/>
                </a:solidFill>
              </a:rPr>
              <a:t>をご入力下さい。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r>
              <a:rPr kumimoji="1" lang="ja-JP" altLang="en-US" sz="800" b="1" dirty="0">
                <a:solidFill>
                  <a:schemeClr val="tx1"/>
                </a:solidFill>
              </a:rPr>
              <a:t>　</a:t>
            </a:r>
            <a:endParaRPr kumimoji="1" lang="en-US" altLang="ja-JP" sz="1400" b="1" dirty="0">
              <a:solidFill>
                <a:schemeClr val="tx1"/>
              </a:solidFill>
            </a:endParaRPr>
          </a:p>
          <a:p>
            <a:pPr algn="ctr"/>
            <a:r>
              <a:rPr kumimoji="1" lang="en-US" altLang="ja-JP" sz="1200" dirty="0">
                <a:solidFill>
                  <a:schemeClr val="tx1"/>
                </a:solidFill>
              </a:rPr>
              <a:t>※</a:t>
            </a:r>
            <a:r>
              <a:rPr kumimoji="1" lang="ja-JP" altLang="en-US" sz="1200" dirty="0">
                <a:solidFill>
                  <a:schemeClr val="tx1"/>
                </a:solidFill>
              </a:rPr>
              <a:t>独自の入力ルールを設定されている専門部もございます。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algn="ctr"/>
            <a:r>
              <a:rPr kumimoji="1" lang="ja-JP" altLang="en-US" sz="1200" dirty="0">
                <a:solidFill>
                  <a:schemeClr val="tx1"/>
                </a:solidFill>
              </a:rPr>
              <a:t>　詳細につきましては大会要項をご確認下さい。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br>
              <a:rPr kumimoji="1" lang="en-US" altLang="ja-JP" sz="1000" b="1" dirty="0">
                <a:solidFill>
                  <a:schemeClr val="tx1"/>
                </a:solidFill>
              </a:rPr>
            </a:br>
            <a:endParaRPr kumimoji="1" lang="en-US" altLang="ja-JP" sz="1200" b="1" dirty="0">
              <a:solidFill>
                <a:srgbClr val="FF0000"/>
              </a:solidFill>
            </a:endParaRP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BDAED568-C0C9-281A-20E7-993E0F23D421}"/>
              </a:ext>
            </a:extLst>
          </p:cNvPr>
          <p:cNvGrpSpPr/>
          <p:nvPr/>
        </p:nvGrpSpPr>
        <p:grpSpPr>
          <a:xfrm>
            <a:off x="310736" y="5733961"/>
            <a:ext cx="4492731" cy="393877"/>
            <a:chOff x="6281971" y="3606242"/>
            <a:chExt cx="2414354" cy="211666"/>
          </a:xfrm>
        </p:grpSpPr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850A8766-8277-0570-00D7-6D40AFF2289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t="55565" r="94542" b="39159"/>
            <a:stretch>
              <a:fillRect/>
            </a:stretch>
          </p:blipFill>
          <p:spPr>
            <a:xfrm>
              <a:off x="6281971" y="3606242"/>
              <a:ext cx="245035" cy="21166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71E21911-63BA-1409-B574-EFC1154F61A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l="21069" t="55565" r="30611" b="39159"/>
            <a:stretch>
              <a:fillRect/>
            </a:stretch>
          </p:blipFill>
          <p:spPr>
            <a:xfrm>
              <a:off x="6527006" y="3606242"/>
              <a:ext cx="2169319" cy="21166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4CC94CFE-DCFA-CCCA-2B0C-106BFE5AE510}"/>
              </a:ext>
            </a:extLst>
          </p:cNvPr>
          <p:cNvSpPr txBox="1"/>
          <p:nvPr/>
        </p:nvSpPr>
        <p:spPr>
          <a:xfrm>
            <a:off x="1470301" y="5790471"/>
            <a:ext cx="333316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ja-JP" altLang="en-US" sz="1050" b="1" dirty="0">
                <a:solidFill>
                  <a:srgbClr val="FF0000"/>
                </a:solidFill>
              </a:rPr>
              <a:t>都立新宿高等学校 </a:t>
            </a:r>
            <a:r>
              <a:rPr kumimoji="1" lang="en-US" altLang="ja-JP" sz="1050" b="1" dirty="0">
                <a:solidFill>
                  <a:srgbClr val="FF0000"/>
                </a:solidFill>
              </a:rPr>
              <a:t>(</a:t>
            </a:r>
            <a:r>
              <a:rPr kumimoji="1" lang="ja-JP" altLang="en-US" sz="1050" b="1" dirty="0">
                <a:solidFill>
                  <a:srgbClr val="FF0000"/>
                </a:solidFill>
              </a:rPr>
              <a:t>男</a:t>
            </a:r>
            <a:r>
              <a:rPr kumimoji="1" lang="en-US" altLang="ja-JP" sz="1050" b="1" dirty="0">
                <a:solidFill>
                  <a:srgbClr val="FF0000"/>
                </a:solidFill>
              </a:rPr>
              <a:t>)</a:t>
            </a:r>
            <a:r>
              <a:rPr kumimoji="1" lang="ja-JP" altLang="en-US" sz="1050" b="1" dirty="0">
                <a:solidFill>
                  <a:srgbClr val="FF0000"/>
                </a:solidFill>
              </a:rPr>
              <a:t>顧問太郎</a:t>
            </a:r>
            <a:endParaRPr lang="ja-JP" altLang="en-US" sz="1050" dirty="0"/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CA1B0700-DCB9-60A4-8EFD-DE350AAEB1F1}"/>
              </a:ext>
            </a:extLst>
          </p:cNvPr>
          <p:cNvSpPr txBox="1"/>
          <p:nvPr/>
        </p:nvSpPr>
        <p:spPr>
          <a:xfrm>
            <a:off x="283928" y="5105476"/>
            <a:ext cx="463097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ja-JP" sz="1100" b="1" dirty="0">
                <a:solidFill>
                  <a:schemeClr val="tx1"/>
                </a:solidFill>
              </a:rPr>
              <a:t>【</a:t>
            </a:r>
            <a:r>
              <a:rPr kumimoji="1" lang="ja-JP" altLang="en-US" sz="1100" b="1" dirty="0">
                <a:solidFill>
                  <a:schemeClr val="tx1"/>
                </a:solidFill>
              </a:rPr>
              <a:t>入力例</a:t>
            </a:r>
            <a:r>
              <a:rPr kumimoji="1" lang="en-US" altLang="ja-JP" sz="1100" b="1" dirty="0">
                <a:solidFill>
                  <a:schemeClr val="tx1"/>
                </a:solidFill>
              </a:rPr>
              <a:t>】</a:t>
            </a:r>
            <a:r>
              <a:rPr kumimoji="1" lang="ja-JP" altLang="en-US" sz="1100" b="1" dirty="0">
                <a:solidFill>
                  <a:schemeClr val="tx1"/>
                </a:solidFill>
              </a:rPr>
              <a:t>東京都立新宿高等学校 登山部</a:t>
            </a:r>
            <a:r>
              <a:rPr kumimoji="1" lang="en-US" altLang="ja-JP" sz="1100" b="1" dirty="0">
                <a:solidFill>
                  <a:schemeClr val="tx1"/>
                </a:solidFill>
              </a:rPr>
              <a:t>(</a:t>
            </a:r>
            <a:r>
              <a:rPr kumimoji="1" lang="ja-JP" altLang="en-US" sz="1100" b="1" dirty="0">
                <a:solidFill>
                  <a:schemeClr val="tx1"/>
                </a:solidFill>
              </a:rPr>
              <a:t>男子</a:t>
            </a:r>
            <a:r>
              <a:rPr kumimoji="1" lang="en-US" altLang="ja-JP" sz="1100" b="1" dirty="0">
                <a:solidFill>
                  <a:schemeClr val="tx1"/>
                </a:solidFill>
              </a:rPr>
              <a:t>)</a:t>
            </a:r>
            <a:r>
              <a:rPr kumimoji="1" lang="ja-JP" altLang="en-US" sz="1100" b="1" dirty="0">
                <a:solidFill>
                  <a:schemeClr val="tx1"/>
                </a:solidFill>
              </a:rPr>
              <a:t> の参加申込書の場合</a:t>
            </a:r>
            <a:endParaRPr kumimoji="1" lang="en-US" altLang="ja-JP" sz="1100" b="1" dirty="0">
              <a:solidFill>
                <a:schemeClr val="tx1"/>
              </a:solidFill>
            </a:endParaRPr>
          </a:p>
        </p:txBody>
      </p:sp>
      <p:pic>
        <p:nvPicPr>
          <p:cNvPr id="34" name="図 33">
            <a:extLst>
              <a:ext uri="{FF2B5EF4-FFF2-40B4-BE49-F238E27FC236}">
                <a16:creationId xmlns:a16="http://schemas.microsoft.com/office/drawing/2014/main" id="{1C9CFFD7-9538-3960-28E7-25B7349E4F35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45267" r="29767" b="50001"/>
          <a:stretch>
            <a:fillRect/>
          </a:stretch>
        </p:blipFill>
        <p:spPr>
          <a:xfrm>
            <a:off x="313944" y="5440449"/>
            <a:ext cx="4489523" cy="2704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3015FA5B-05D7-D118-FADA-A285EE91CB4B}"/>
              </a:ext>
            </a:extLst>
          </p:cNvPr>
          <p:cNvSpPr txBox="1"/>
          <p:nvPr/>
        </p:nvSpPr>
        <p:spPr>
          <a:xfrm>
            <a:off x="2177704" y="5452670"/>
            <a:ext cx="70464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en-US" altLang="ja-JP" sz="1050" b="1" dirty="0">
                <a:solidFill>
                  <a:srgbClr val="FF0000"/>
                </a:solidFill>
              </a:rPr>
              <a:t>06</a:t>
            </a:r>
            <a:r>
              <a:rPr kumimoji="1" lang="ja-JP" altLang="en-US" sz="1050" b="1" dirty="0">
                <a:solidFill>
                  <a:srgbClr val="FF0000"/>
                </a:solidFill>
              </a:rPr>
              <a:t>東京</a:t>
            </a:r>
            <a:endParaRPr lang="ja-JP" altLang="en-US" sz="1050" dirty="0"/>
          </a:p>
        </p:txBody>
      </p:sp>
      <p:cxnSp>
        <p:nvCxnSpPr>
          <p:cNvPr id="24" name="直線コネクタ 23">
            <a:extLst>
              <a:ext uri="{FF2B5EF4-FFF2-40B4-BE49-F238E27FC236}">
                <a16:creationId xmlns:a16="http://schemas.microsoft.com/office/drawing/2014/main" id="{ED679448-D2D5-78A8-B30A-5215F26B0180}"/>
              </a:ext>
            </a:extLst>
          </p:cNvPr>
          <p:cNvCxnSpPr/>
          <p:nvPr/>
        </p:nvCxnSpPr>
        <p:spPr>
          <a:xfrm>
            <a:off x="367748" y="4989444"/>
            <a:ext cx="463097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AB0F4F4A-D311-D1AA-5B70-DD810A011F03}"/>
              </a:ext>
            </a:extLst>
          </p:cNvPr>
          <p:cNvSpPr/>
          <p:nvPr/>
        </p:nvSpPr>
        <p:spPr>
          <a:xfrm>
            <a:off x="249667" y="2441613"/>
            <a:ext cx="4782335" cy="1006305"/>
          </a:xfrm>
          <a:prstGeom prst="roundRect">
            <a:avLst>
              <a:gd name="adj" fmla="val 15578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400" b="1" dirty="0">
                <a:solidFill>
                  <a:schemeClr val="bg1"/>
                </a:solidFill>
                <a:highlight>
                  <a:srgbClr val="FF0000"/>
                </a:highlight>
              </a:rPr>
              <a:t>ルール②</a:t>
            </a:r>
            <a:r>
              <a:rPr kumimoji="1" lang="ja-JP" altLang="en-US" sz="1400" b="1" dirty="0">
                <a:solidFill>
                  <a:schemeClr val="bg1"/>
                </a:solidFill>
              </a:rPr>
              <a:t> </a:t>
            </a:r>
            <a:r>
              <a:rPr kumimoji="1" lang="ja-JP" altLang="en-US" sz="1400" b="1" dirty="0">
                <a:solidFill>
                  <a:schemeClr val="tx1"/>
                </a:solidFill>
              </a:rPr>
              <a:t>「所属（専門部・学校名）」欄</a:t>
            </a:r>
            <a:endParaRPr kumimoji="1" lang="en-US" altLang="ja-JP" sz="1400" b="1" dirty="0">
              <a:solidFill>
                <a:schemeClr val="tx1"/>
              </a:solidFill>
            </a:endParaRPr>
          </a:p>
          <a:p>
            <a:endParaRPr kumimoji="1" lang="en-US" altLang="ja-JP" sz="1400" b="1" dirty="0">
              <a:solidFill>
                <a:schemeClr val="tx1"/>
              </a:solidFill>
            </a:endParaRPr>
          </a:p>
          <a:p>
            <a:pPr algn="ctr"/>
            <a:r>
              <a:rPr kumimoji="1" lang="ja-JP" altLang="en-US" sz="1400" dirty="0">
                <a:solidFill>
                  <a:schemeClr val="tx1"/>
                </a:solidFill>
              </a:rPr>
              <a:t>プルダウンより、</a:t>
            </a:r>
            <a:r>
              <a:rPr kumimoji="1" lang="ja-JP" altLang="en-US" sz="1400" dirty="0">
                <a:solidFill>
                  <a:srgbClr val="FF0000"/>
                </a:solidFill>
              </a:rPr>
              <a:t>所属の都県</a:t>
            </a:r>
            <a:r>
              <a:rPr kumimoji="1" lang="ja-JP" altLang="en-US" sz="1400" dirty="0">
                <a:solidFill>
                  <a:schemeClr val="tx1"/>
                </a:solidFill>
              </a:rPr>
              <a:t>をご選択下さい。</a:t>
            </a:r>
            <a:endParaRPr kumimoji="1" lang="en-US" altLang="ja-JP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7402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98758A-1F55-E6AD-2D5F-3D87620A1B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C86E850-0716-2C7C-0F71-676E0A9E5D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C86E850-0716-2C7C-0F71-676E0A9E5D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6101F14F-26E1-56CF-2F9E-AA1FF00F7EC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1DC278C0-823D-0DDB-37B1-7BC81C7023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8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7E49A58-64EF-9C7A-F612-D68312BEC051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74AACC4B-42A2-970E-BDBE-46DA615C5D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4978E13B-4573-B6FF-5EA0-6B5180E15206}"/>
              </a:ext>
            </a:extLst>
          </p:cNvPr>
          <p:cNvSpPr txBox="1"/>
          <p:nvPr/>
        </p:nvSpPr>
        <p:spPr>
          <a:xfrm>
            <a:off x="1152922" y="3136613"/>
            <a:ext cx="76001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3200" b="1" dirty="0"/>
              <a:t>開催県専門部（大会本部）への提出方法</a:t>
            </a:r>
            <a:endParaRPr kumimoji="1" lang="en-US" altLang="ja-JP" sz="3200" b="1" dirty="0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8045D5AD-8C48-6794-83DD-2584FBEBB265}"/>
              </a:ext>
            </a:extLst>
          </p:cNvPr>
          <p:cNvSpPr txBox="1"/>
          <p:nvPr/>
        </p:nvSpPr>
        <p:spPr>
          <a:xfrm>
            <a:off x="601498" y="4270501"/>
            <a:ext cx="870300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TW" altLang="en-US" sz="140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開催県専門部（大会本部</a:t>
            </a:r>
            <a:r>
              <a:rPr lang="ja-JP" altLang="en-US" sz="140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）に直接提出する書類がある場合はこちらの手順をご確認下さい。</a:t>
            </a:r>
            <a:endParaRPr lang="en-US" altLang="ja-JP" sz="1400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707683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BEAD40-644E-6E23-3564-E5166475B3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Web サイト が含まれている画像&#10;&#10;AI 生成コンテンツは誤りを含む可能性があります。">
            <a:extLst>
              <a:ext uri="{FF2B5EF4-FFF2-40B4-BE49-F238E27FC236}">
                <a16:creationId xmlns:a16="http://schemas.microsoft.com/office/drawing/2014/main" id="{65E144CF-B108-0F12-BC5E-D61429849AD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35116"/>
          <a:stretch>
            <a:fillRect/>
          </a:stretch>
        </p:blipFill>
        <p:spPr>
          <a:xfrm>
            <a:off x="204113" y="1877818"/>
            <a:ext cx="3795359" cy="387060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B24246-D086-967F-03B8-0A8ECA3406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B24246-D086-967F-03B8-0A8ECA3406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D13A8056-7436-94A9-816D-F87D059A0FB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15B6AEB2-D296-ECE9-5A63-240B78753F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9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A0363B5E-70C7-D1FC-0309-D523EF1A1B03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EAF43061-3746-D35C-BEC0-DFEEB01AB7DB}"/>
              </a:ext>
            </a:extLst>
          </p:cNvPr>
          <p:cNvSpPr txBox="1"/>
          <p:nvPr/>
        </p:nvSpPr>
        <p:spPr>
          <a:xfrm>
            <a:off x="145883" y="183987"/>
            <a:ext cx="6244159" cy="461665"/>
          </a:xfrm>
          <a:prstGeom prst="rect">
            <a:avLst/>
          </a:prstGeom>
          <a:noFill/>
        </p:spPr>
        <p:txBody>
          <a:bodyPr wrap="square" rIns="360000">
            <a:spAutoFit/>
          </a:bodyPr>
          <a:lstStyle/>
          <a:p>
            <a:r>
              <a:rPr kumimoji="1" lang="ja-JP" altLang="en-US" sz="2400" b="1">
                <a:solidFill>
                  <a:srgbClr val="0166B3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詳細手順</a:t>
            </a:r>
            <a:endParaRPr lang="en-US" altLang="ja-JP" sz="2400" b="1">
              <a:solidFill>
                <a:srgbClr val="0166B3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75D906D9-C237-C7AD-6036-FEAE19FAEA38}"/>
              </a:ext>
            </a:extLst>
          </p:cNvPr>
          <p:cNvSpPr txBox="1"/>
          <p:nvPr/>
        </p:nvSpPr>
        <p:spPr>
          <a:xfrm>
            <a:off x="145883" y="712292"/>
            <a:ext cx="870300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TW" altLang="en-US" sz="140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開催県専門部（大会本部</a:t>
            </a:r>
            <a:r>
              <a:rPr lang="ja-JP" altLang="en-US" sz="140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）に直接提出する書類場合はこちらをご確認下さい。</a:t>
            </a:r>
            <a:endParaRPr lang="en-US" altLang="ja-JP" sz="1400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B2B1E86F-480E-4EC9-65F9-A4C52EC3CF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3" name="テキスト ボックス 162">
            <a:extLst>
              <a:ext uri="{FF2B5EF4-FFF2-40B4-BE49-F238E27FC236}">
                <a16:creationId xmlns:a16="http://schemas.microsoft.com/office/drawing/2014/main" id="{62FB01E3-0662-2E8D-AF22-F66190BC460A}"/>
              </a:ext>
            </a:extLst>
          </p:cNvPr>
          <p:cNvSpPr txBox="1"/>
          <p:nvPr/>
        </p:nvSpPr>
        <p:spPr>
          <a:xfrm>
            <a:off x="204114" y="1440918"/>
            <a:ext cx="37953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１．関東高体連</a:t>
            </a:r>
            <a:r>
              <a:rPr lang="en-US" altLang="ja-JP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TOP</a:t>
            </a:r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ページ内</a:t>
            </a:r>
            <a:endParaRPr lang="en-US" altLang="ja-JP" sz="105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　</a:t>
            </a:r>
            <a:r>
              <a:rPr lang="ja-JP" altLang="en-US" sz="1050" b="1">
                <a:latin typeface="游ゴシック" panose="020B0400000000000000" pitchFamily="50" charset="-128"/>
                <a:ea typeface="游ゴシック" panose="020B0400000000000000" pitchFamily="50" charset="-128"/>
              </a:rPr>
              <a:t>関東大会出場校はこちら</a:t>
            </a:r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 をクリック</a:t>
            </a:r>
          </a:p>
        </p:txBody>
      </p:sp>
      <p:sp>
        <p:nvSpPr>
          <p:cNvPr id="196" name="正方形/長方形 195">
            <a:extLst>
              <a:ext uri="{FF2B5EF4-FFF2-40B4-BE49-F238E27FC236}">
                <a16:creationId xmlns:a16="http://schemas.microsoft.com/office/drawing/2014/main" id="{16CF439D-3E88-497C-42F2-AD009ACF759E}"/>
              </a:ext>
            </a:extLst>
          </p:cNvPr>
          <p:cNvSpPr/>
          <p:nvPr/>
        </p:nvSpPr>
        <p:spPr>
          <a:xfrm>
            <a:off x="1649413" y="4675757"/>
            <a:ext cx="1293018" cy="4667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85D918F4-3B86-7542-0C5B-1D87E0118A93}"/>
              </a:ext>
            </a:extLst>
          </p:cNvPr>
          <p:cNvSpPr txBox="1"/>
          <p:nvPr/>
        </p:nvSpPr>
        <p:spPr>
          <a:xfrm>
            <a:off x="4691743" y="1442420"/>
            <a:ext cx="415714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２．</a:t>
            </a:r>
            <a:r>
              <a:rPr lang="en-US" altLang="ja-JP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”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プログラム原稿等、開催都県専門部</a:t>
            </a:r>
            <a:r>
              <a:rPr lang="en-US" altLang="ja-JP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(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大会本部</a:t>
            </a:r>
            <a:r>
              <a:rPr lang="en-US" altLang="ja-JP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)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へ直接提出</a:t>
            </a:r>
            <a:r>
              <a:rPr lang="en-US" altLang="ja-JP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”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の</a:t>
            </a:r>
            <a:endParaRPr lang="en-US" altLang="ja-JP" sz="1050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　　「こちらから」をクリック</a:t>
            </a: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7937E559-CCBC-534A-F738-571F31BA2260}"/>
              </a:ext>
            </a:extLst>
          </p:cNvPr>
          <p:cNvSpPr txBox="1"/>
          <p:nvPr/>
        </p:nvSpPr>
        <p:spPr>
          <a:xfrm>
            <a:off x="4691743" y="3494855"/>
            <a:ext cx="4157144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３．該当の専門部をクリック</a:t>
            </a:r>
          </a:p>
        </p:txBody>
      </p:sp>
      <p:pic>
        <p:nvPicPr>
          <p:cNvPr id="16" name="図 15">
            <a:extLst>
              <a:ext uri="{FF2B5EF4-FFF2-40B4-BE49-F238E27FC236}">
                <a16:creationId xmlns:a16="http://schemas.microsoft.com/office/drawing/2014/main" id="{5A915ECB-F395-6941-D9EA-DE389697AAC4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50000" t="37472" b="39782"/>
          <a:stretch>
            <a:fillRect/>
          </a:stretch>
        </p:blipFill>
        <p:spPr>
          <a:xfrm>
            <a:off x="4953000" y="3786377"/>
            <a:ext cx="2501348" cy="4935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B3206F76-8843-53B3-61FB-515B2373E132}"/>
              </a:ext>
            </a:extLst>
          </p:cNvPr>
          <p:cNvSpPr/>
          <p:nvPr/>
        </p:nvSpPr>
        <p:spPr>
          <a:xfrm>
            <a:off x="5039139" y="3895225"/>
            <a:ext cx="2295939" cy="28956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7DC308A2-C42E-B8A1-4C2B-021E4B4C3D6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67442" y="1988371"/>
            <a:ext cx="4157144" cy="843370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F7E59C90-1CC0-A9D0-7CEB-E4D70BD7F71D}"/>
              </a:ext>
            </a:extLst>
          </p:cNvPr>
          <p:cNvSpPr/>
          <p:nvPr/>
        </p:nvSpPr>
        <p:spPr>
          <a:xfrm>
            <a:off x="5257800" y="2371725"/>
            <a:ext cx="845820" cy="28528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27880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NGF3XSYKgMdxNwKVp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NGF3XSYKgMdxNwKVp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NGF3XSYKgMdxNwKVpx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NGF3XSYKgMdxNwKVp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CG Grid 16:9">
  <a:themeElements>
    <a:clrScheme name="Custom 79">
      <a:dk1>
        <a:srgbClr val="575757"/>
      </a:dk1>
      <a:lt1>
        <a:sysClr val="window" lastClr="FFFFFF"/>
      </a:lt1>
      <a:dk2>
        <a:srgbClr val="0070C0"/>
      </a:dk2>
      <a:lt2>
        <a:srgbClr val="F2F2F2"/>
      </a:lt2>
      <a:accent1>
        <a:srgbClr val="0070C0"/>
      </a:accent1>
      <a:accent2>
        <a:srgbClr val="00B0F0"/>
      </a:accent2>
      <a:accent3>
        <a:srgbClr val="FFC000"/>
      </a:accent3>
      <a:accent4>
        <a:srgbClr val="92D050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.potx" id="{F3C9A9EC-4B4A-4AD3-94B4-98994E8C5084}" vid="{74992BC4-5D8A-4B70-AC39-A66B5A4F8C14}"/>
    </a:ext>
  </a:extLst>
</a:theme>
</file>

<file path=ppt/theme/theme2.xml><?xml version="1.0" encoding="utf-8"?>
<a:theme xmlns:a="http://schemas.openxmlformats.org/drawingml/2006/main" name="2_BCG Grid 16:9">
  <a:themeElements>
    <a:clrScheme name="Custom 79">
      <a:dk1>
        <a:srgbClr val="575757"/>
      </a:dk1>
      <a:lt1>
        <a:sysClr val="window" lastClr="FFFFFF"/>
      </a:lt1>
      <a:dk2>
        <a:srgbClr val="0070C0"/>
      </a:dk2>
      <a:lt2>
        <a:srgbClr val="F2F2F2"/>
      </a:lt2>
      <a:accent1>
        <a:srgbClr val="0070C0"/>
      </a:accent1>
      <a:accent2>
        <a:srgbClr val="00B0F0"/>
      </a:accent2>
      <a:accent3>
        <a:srgbClr val="FFC000"/>
      </a:accent3>
      <a:accent4>
        <a:srgbClr val="92D050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.potx" id="{F3C9A9EC-4B4A-4AD3-94B4-98994E8C5084}" vid="{74992BC4-5D8A-4B70-AC39-A66B5A4F8C14}"/>
    </a:ext>
  </a:extLst>
</a:theme>
</file>

<file path=ppt/theme/theme3.xml><?xml version="1.0" encoding="utf-8"?>
<a:theme xmlns:a="http://schemas.openxmlformats.org/drawingml/2006/main" name="レトロスペクト">
  <a:themeElements>
    <a:clrScheme name="レトロスペクト">
      <a:dk1>
        <a:sysClr val="windowText" lastClr="000000"/>
      </a:dk1>
      <a:lt1>
        <a:sysClr val="window" lastClr="FFFFFF"/>
      </a:lt1>
      <a:dk2>
        <a:srgbClr val="344068"/>
      </a:dk2>
      <a:lt2>
        <a:srgbClr val="D9E0E6"/>
      </a:lt2>
      <a:accent1>
        <a:srgbClr val="1CADE4"/>
      </a:accent1>
      <a:accent2>
        <a:srgbClr val="2683C6"/>
      </a:accent2>
      <a:accent3>
        <a:srgbClr val="28C4CC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レトロスペクト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レトロスペクト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9CC26709-368C-4D72-9060-94E5B3FF3CD6}"/>
    </a:ext>
  </a:extLst>
</a:theme>
</file>

<file path=ppt/theme/theme4.xml><?xml version="1.0" encoding="utf-8"?>
<a:theme xmlns:a="http://schemas.openxmlformats.org/drawingml/2006/main" name="3_BCG Grid 16:9">
  <a:themeElements>
    <a:clrScheme name="Custom 79">
      <a:dk1>
        <a:srgbClr val="575757"/>
      </a:dk1>
      <a:lt1>
        <a:sysClr val="window" lastClr="FFFFFF"/>
      </a:lt1>
      <a:dk2>
        <a:srgbClr val="0070C0"/>
      </a:dk2>
      <a:lt2>
        <a:srgbClr val="F2F2F2"/>
      </a:lt2>
      <a:accent1>
        <a:srgbClr val="0070C0"/>
      </a:accent1>
      <a:accent2>
        <a:srgbClr val="00B0F0"/>
      </a:accent2>
      <a:accent3>
        <a:srgbClr val="FFC000"/>
      </a:accent3>
      <a:accent4>
        <a:srgbClr val="92D050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.potx" id="{F3C9A9EC-4B4A-4AD3-94B4-98994E8C5084}" vid="{74992BC4-5D8A-4B70-AC39-A66B5A4F8C14}"/>
    </a:ext>
  </a:extLst>
</a:theme>
</file>

<file path=ppt/theme/theme5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00b4a78-7cd9-4ad1-9312-9e61205b6819">
      <Terms xmlns="http://schemas.microsoft.com/office/infopath/2007/PartnerControls"/>
    </lcf76f155ced4ddcb4097134ff3c332f>
    <TaxCatchAll xmlns="8fb76959-5722-49be-af14-dd9e0cfd2298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E241D1B64DA4F468C89186740401B53" ma:contentTypeVersion="16" ma:contentTypeDescription="新しいドキュメントを作成します。" ma:contentTypeScope="" ma:versionID="c85f2bca4bcc329d1a2e875f6c4a7b4c">
  <xsd:schema xmlns:xsd="http://www.w3.org/2001/XMLSchema" xmlns:xs="http://www.w3.org/2001/XMLSchema" xmlns:p="http://schemas.microsoft.com/office/2006/metadata/properties" xmlns:ns2="900b4a78-7cd9-4ad1-9312-9e61205b6819" xmlns:ns3="8fb76959-5722-49be-af14-dd9e0cfd2298" targetNamespace="http://schemas.microsoft.com/office/2006/metadata/properties" ma:root="true" ma:fieldsID="752aac090055bb71f80b5ba3ef7d7671" ns2:_="" ns3:_="">
    <xsd:import namespace="900b4a78-7cd9-4ad1-9312-9e61205b6819"/>
    <xsd:import namespace="8fb76959-5722-49be-af14-dd9e0cfd229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0b4a78-7cd9-4ad1-9312-9e61205b68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画像タグ" ma:readOnly="false" ma:fieldId="{5cf76f15-5ced-4ddc-b409-7134ff3c332f}" ma:taxonomyMulti="true" ma:sspId="cf883488-3cb2-4d62-83ba-a49226da49b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b76959-5722-49be-af14-dd9e0cfd2298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acc838d-0b6d-4d17-ab42-eb980138cffd}" ma:internalName="TaxCatchAll" ma:showField="CatchAllData" ma:web="8fb76959-5722-49be-af14-dd9e0cfd229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3F3CEAD-A2F1-4015-AF21-A17FAE13C48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6675D09-F526-4F08-9EB7-9F8B55D82816}">
  <ds:schemaRefs>
    <ds:schemaRef ds:uri="http://schemas.openxmlformats.org/package/2006/metadata/core-properties"/>
    <ds:schemaRef ds:uri="http://purl.org/dc/terms/"/>
    <ds:schemaRef ds:uri="http://purl.org/dc/elements/1.1/"/>
    <ds:schemaRef ds:uri="http://schemas.microsoft.com/office/2006/metadata/properties"/>
    <ds:schemaRef ds:uri="8fb76959-5722-49be-af14-dd9e0cfd2298"/>
    <ds:schemaRef ds:uri="http://schemas.microsoft.com/office/2006/documentManagement/types"/>
    <ds:schemaRef ds:uri="http://purl.org/dc/dcmitype/"/>
    <ds:schemaRef ds:uri="http://schemas.microsoft.com/office/infopath/2007/PartnerControls"/>
    <ds:schemaRef ds:uri="900b4a78-7cd9-4ad1-9312-9e61205b6819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DA07854-EE35-4C41-B127-A2EFDB00DC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00b4a78-7cd9-4ad1-9312-9e61205b6819"/>
    <ds:schemaRef ds:uri="8fb76959-5722-49be-af14-dd9e0cfd229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2</TotalTime>
  <Words>792</Words>
  <Application>Microsoft Office PowerPoint</Application>
  <PresentationFormat>A4 210 x 297 mm</PresentationFormat>
  <Paragraphs>108</Paragraphs>
  <Slides>10</Slides>
  <Notes>9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4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0</vt:i4>
      </vt:variant>
    </vt:vector>
  </HeadingPairs>
  <TitlesOfParts>
    <vt:vector size="23" baseType="lpstr">
      <vt:lpstr>Meiryo UI</vt:lpstr>
      <vt:lpstr>ＭＳ Ｐゴシック (太字)</vt:lpstr>
      <vt:lpstr>游ゴシック</vt:lpstr>
      <vt:lpstr>Arial</vt:lpstr>
      <vt:lpstr>Calibri</vt:lpstr>
      <vt:lpstr>Calibri Light</vt:lpstr>
      <vt:lpstr>Open Sans</vt:lpstr>
      <vt:lpstr>Trebuchet MS</vt:lpstr>
      <vt:lpstr>1_BCG Grid 16:9</vt:lpstr>
      <vt:lpstr>2_BCG Grid 16:9</vt:lpstr>
      <vt:lpstr>レトロスペクト</vt:lpstr>
      <vt:lpstr>3_BCG Grid 16:9</vt:lpstr>
      <vt:lpstr>think-cell Slide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チーム運営を効率化しながら、 生徒の学びの質をグンっと高める 「部活アプリ Plus」のご紹介</dc:title>
  <dc:creator>member</dc:creator>
  <cp:lastModifiedBy>アスフィール 興津 拓</cp:lastModifiedBy>
  <cp:revision>1</cp:revision>
  <cp:lastPrinted>2025-11-04T06:12:13Z</cp:lastPrinted>
  <dcterms:modified xsi:type="dcterms:W3CDTF">2025-12-03T01:5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241D1B64DA4F468C89186740401B53</vt:lpwstr>
  </property>
  <property fmtid="{D5CDD505-2E9C-101B-9397-08002B2CF9AE}" pid="3" name="MediaServiceImageTags">
    <vt:lpwstr/>
  </property>
</Properties>
</file>